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tags/tag32.xml" ContentType="application/vnd.openxmlformats-officedocument.presentationml.tags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charts/chart9.xml" ContentType="application/vnd.openxmlformats-officedocument.drawingml.chart+xml"/>
  <Override PartName="/ppt/theme/themeOverride4.xml" ContentType="application/vnd.openxmlformats-officedocument.themeOverride+xml"/>
  <Override PartName="/ppt/charts/chart10.xml" ContentType="application/vnd.openxmlformats-officedocument.drawingml.chart+xml"/>
  <Override PartName="/ppt/tags/tag34.xml" ContentType="application/vnd.openxmlformats-officedocument.presentationml.tags+xml"/>
  <Override PartName="/ppt/charts/chart11.xml" ContentType="application/vnd.openxmlformats-officedocument.drawingml.chart+xml"/>
  <Override PartName="/ppt/theme/themeOverride5.xml" ContentType="application/vnd.openxmlformats-officedocument.themeOverride+xml"/>
  <Override PartName="/ppt/charts/chart1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1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2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2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2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2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25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26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6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7.xml" ContentType="application/vnd.openxmlformats-officedocument.themeOverride+xml"/>
  <Override PartName="/ppt/tags/tag90.xml" ContentType="application/vnd.openxmlformats-officedocument.presentationml.tags+xml"/>
  <Override PartName="/ppt/charts/chart29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8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30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9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31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10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2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1.xml" ContentType="application/vnd.openxmlformats-officedocument.themeOverr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6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3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3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3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3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7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38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9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40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41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42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43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1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</p:sldMasterIdLst>
  <p:notesMasterIdLst>
    <p:notesMasterId r:id="rId35"/>
  </p:notesMasterIdLst>
  <p:handoutMasterIdLst>
    <p:handoutMasterId r:id="rId36"/>
  </p:handoutMasterIdLst>
  <p:sldIdLst>
    <p:sldId id="258" r:id="rId3"/>
    <p:sldId id="5864" r:id="rId4"/>
    <p:sldId id="5855" r:id="rId5"/>
    <p:sldId id="5786" r:id="rId6"/>
    <p:sldId id="5867" r:id="rId7"/>
    <p:sldId id="5898" r:id="rId8"/>
    <p:sldId id="5391" r:id="rId9"/>
    <p:sldId id="5388" r:id="rId10"/>
    <p:sldId id="5337" r:id="rId11"/>
    <p:sldId id="5878" r:id="rId12"/>
    <p:sldId id="5879" r:id="rId13"/>
    <p:sldId id="5877" r:id="rId14"/>
    <p:sldId id="5856" r:id="rId15"/>
    <p:sldId id="5857" r:id="rId16"/>
    <p:sldId id="5865" r:id="rId17"/>
    <p:sldId id="5320" r:id="rId18"/>
    <p:sldId id="5880" r:id="rId19"/>
    <p:sldId id="5881" r:id="rId20"/>
    <p:sldId id="5894" r:id="rId21"/>
    <p:sldId id="5895" r:id="rId22"/>
    <p:sldId id="5638" r:id="rId23"/>
    <p:sldId id="5645" r:id="rId24"/>
    <p:sldId id="5109" r:id="rId25"/>
    <p:sldId id="5644" r:id="rId26"/>
    <p:sldId id="5110" r:id="rId27"/>
    <p:sldId id="4996" r:id="rId28"/>
    <p:sldId id="5342" r:id="rId29"/>
    <p:sldId id="5873" r:id="rId30"/>
    <p:sldId id="5706" r:id="rId31"/>
    <p:sldId id="5698" r:id="rId32"/>
    <p:sldId id="5699" r:id="rId33"/>
    <p:sldId id="5899" r:id="rId34"/>
  </p:sldIdLst>
  <p:sldSz cx="12192000" cy="6858000"/>
  <p:notesSz cx="6858000" cy="9144000"/>
  <p:custDataLst>
    <p:tags r:id="rId3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1440"/>
    <a:srgbClr val="4472C4"/>
    <a:srgbClr val="FF33CC"/>
    <a:srgbClr val="C00000"/>
    <a:srgbClr val="92D05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37" autoAdjust="0"/>
    <p:restoredTop sz="96400" autoAdjust="0"/>
  </p:normalViewPr>
  <p:slideViewPr>
    <p:cSldViewPr snapToGrid="0">
      <p:cViewPr varScale="1">
        <p:scale>
          <a:sx n="76" d="100"/>
          <a:sy n="76" d="100"/>
        </p:scale>
        <p:origin x="806" y="29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176"/>
    </p:cViewPr>
  </p:sorter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5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6367058987577"/>
          <c:y val="5.7794283588567176E-2"/>
          <c:w val="0.87396351575456055"/>
          <c:h val="0.76650943396226412"/>
        </c:manualLayout>
      </c:layout>
      <c:lineChart>
        <c:grouping val="standard"/>
        <c:varyColors val="0"/>
        <c:ser>
          <c:idx val="0"/>
          <c:order val="0"/>
          <c:tx>
            <c:strRef>
              <c:f>List3!$B$1</c:f>
              <c:strCache>
                <c:ptCount val="1"/>
                <c:pt idx="0">
                  <c:v>ČR</c:v>
                </c:pt>
              </c:strCache>
            </c:strRef>
          </c:tx>
          <c:spPr>
            <a:ln w="38098">
              <a:solidFill>
                <a:srgbClr val="2E5980"/>
              </a:solidFill>
              <a:prstDash val="solid"/>
            </a:ln>
          </c:spPr>
          <c:marker>
            <c:symbol val="none"/>
          </c:marker>
          <c:cat>
            <c:strRef>
              <c:f>List3!$A$2:$A$19</c:f>
              <c:strCache>
                <c:ptCount val="18"/>
                <c:pt idx="0">
                  <c:v>   0–4 let</c:v>
                </c:pt>
                <c:pt idx="1">
                  <c:v>   5–9 let</c:v>
                </c:pt>
                <c:pt idx="2">
                  <c:v> 10–14 let</c:v>
                </c:pt>
                <c:pt idx="3">
                  <c:v> 15–19 let</c:v>
                </c:pt>
                <c:pt idx="4">
                  <c:v> 20–24 let</c:v>
                </c:pt>
                <c:pt idx="5">
                  <c:v> 25–29 let</c:v>
                </c:pt>
                <c:pt idx="6">
                  <c:v> 30–34 let</c:v>
                </c:pt>
                <c:pt idx="7">
                  <c:v> 35–39 let</c:v>
                </c:pt>
                <c:pt idx="8">
                  <c:v> 40–44 let</c:v>
                </c:pt>
                <c:pt idx="9">
                  <c:v> 45–49 let</c:v>
                </c:pt>
                <c:pt idx="10">
                  <c:v> 50–54 let</c:v>
                </c:pt>
                <c:pt idx="11">
                  <c:v> 55–59 let</c:v>
                </c:pt>
                <c:pt idx="12">
                  <c:v> 60–64 let</c:v>
                </c:pt>
                <c:pt idx="13">
                  <c:v> 65–69 let</c:v>
                </c:pt>
                <c:pt idx="14">
                  <c:v> 70–74 let</c:v>
                </c:pt>
                <c:pt idx="15">
                  <c:v> 75–79 let</c:v>
                </c:pt>
                <c:pt idx="16">
                  <c:v> 80–84 let</c:v>
                </c:pt>
                <c:pt idx="17">
                  <c:v> 85+ let</c:v>
                </c:pt>
              </c:strCache>
            </c:strRef>
          </c:cat>
          <c:val>
            <c:numRef>
              <c:f>List3!$B$2:$B$19</c:f>
              <c:numCache>
                <c:formatCode>General</c:formatCode>
                <c:ptCount val="18"/>
                <c:pt idx="0">
                  <c:v>5.306775210148956</c:v>
                </c:pt>
                <c:pt idx="1">
                  <c:v>5.2593078803089215</c:v>
                </c:pt>
                <c:pt idx="2">
                  <c:v>5.5359914467522957</c:v>
                </c:pt>
                <c:pt idx="3">
                  <c:v>4.7857661148114143</c:v>
                </c:pt>
                <c:pt idx="4">
                  <c:v>4.5356973432843573</c:v>
                </c:pt>
                <c:pt idx="5">
                  <c:v>5.4446035246584321</c:v>
                </c:pt>
                <c:pt idx="6">
                  <c:v>6.5230779939005625</c:v>
                </c:pt>
                <c:pt idx="7">
                  <c:v>6.7891974170241687</c:v>
                </c:pt>
                <c:pt idx="8">
                  <c:v>7.8967779553048301</c:v>
                </c:pt>
                <c:pt idx="9">
                  <c:v>8.5539798722166545</c:v>
                </c:pt>
                <c:pt idx="10">
                  <c:v>6.6435814937128139</c:v>
                </c:pt>
                <c:pt idx="11">
                  <c:v>6.3995602425740303</c:v>
                </c:pt>
                <c:pt idx="12">
                  <c:v>5.7003204520198194</c:v>
                </c:pt>
                <c:pt idx="13">
                  <c:v>6.2728380661361012</c:v>
                </c:pt>
                <c:pt idx="14">
                  <c:v>5.8495211476368034</c:v>
                </c:pt>
                <c:pt idx="15">
                  <c:v>4.2132294833354207</c:v>
                </c:pt>
                <c:pt idx="16">
                  <c:v>2.4025391217992476</c:v>
                </c:pt>
                <c:pt idx="17">
                  <c:v>1.27582711964876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08-42DE-B7D2-E8B23BC5B0EE}"/>
            </c:ext>
          </c:extLst>
        </c:ser>
        <c:ser>
          <c:idx val="1"/>
          <c:order val="1"/>
          <c:tx>
            <c:strRef>
              <c:f>List3!$C$1</c:f>
              <c:strCache>
                <c:ptCount val="1"/>
                <c:pt idx="0">
                  <c:v>HMP</c:v>
                </c:pt>
              </c:strCache>
            </c:strRef>
          </c:tx>
          <c:spPr>
            <a:ln w="38100">
              <a:solidFill>
                <a:srgbClr val="D71440"/>
              </a:solidFill>
            </a:ln>
          </c:spPr>
          <c:marker>
            <c:symbol val="none"/>
          </c:marker>
          <c:cat>
            <c:strRef>
              <c:f>List3!$A$2:$A$19</c:f>
              <c:strCache>
                <c:ptCount val="18"/>
                <c:pt idx="0">
                  <c:v>   0–4 let</c:v>
                </c:pt>
                <c:pt idx="1">
                  <c:v>   5–9 let</c:v>
                </c:pt>
                <c:pt idx="2">
                  <c:v> 10–14 let</c:v>
                </c:pt>
                <c:pt idx="3">
                  <c:v> 15–19 let</c:v>
                </c:pt>
                <c:pt idx="4">
                  <c:v> 20–24 let</c:v>
                </c:pt>
                <c:pt idx="5">
                  <c:v> 25–29 let</c:v>
                </c:pt>
                <c:pt idx="6">
                  <c:v> 30–34 let</c:v>
                </c:pt>
                <c:pt idx="7">
                  <c:v> 35–39 let</c:v>
                </c:pt>
                <c:pt idx="8">
                  <c:v> 40–44 let</c:v>
                </c:pt>
                <c:pt idx="9">
                  <c:v> 45–49 let</c:v>
                </c:pt>
                <c:pt idx="10">
                  <c:v> 50–54 let</c:v>
                </c:pt>
                <c:pt idx="11">
                  <c:v> 55–59 let</c:v>
                </c:pt>
                <c:pt idx="12">
                  <c:v> 60–64 let</c:v>
                </c:pt>
                <c:pt idx="13">
                  <c:v> 65–69 let</c:v>
                </c:pt>
                <c:pt idx="14">
                  <c:v> 70–74 let</c:v>
                </c:pt>
                <c:pt idx="15">
                  <c:v> 75–79 let</c:v>
                </c:pt>
                <c:pt idx="16">
                  <c:v> 80–84 let</c:v>
                </c:pt>
                <c:pt idx="17">
                  <c:v> 85+ let</c:v>
                </c:pt>
              </c:strCache>
            </c:strRef>
          </c:cat>
          <c:val>
            <c:numRef>
              <c:f>List3!$C$2:$C$19</c:f>
              <c:numCache>
                <c:formatCode>General</c:formatCode>
                <c:ptCount val="18"/>
                <c:pt idx="0">
                  <c:v>5.3017981499999998</c:v>
                </c:pt>
                <c:pt idx="1">
                  <c:v>6.1175597899999996</c:v>
                </c:pt>
                <c:pt idx="2">
                  <c:v>6.1818481500000004</c:v>
                </c:pt>
                <c:pt idx="3">
                  <c:v>5.7940574500000004</c:v>
                </c:pt>
                <c:pt idx="4">
                  <c:v>4.5336346299999999</c:v>
                </c:pt>
                <c:pt idx="5">
                  <c:v>4.6109729799999997</c:v>
                </c:pt>
                <c:pt idx="6">
                  <c:v>6.2332925799999996</c:v>
                </c:pt>
                <c:pt idx="7">
                  <c:v>6.9707542900000004</c:v>
                </c:pt>
                <c:pt idx="8">
                  <c:v>7.8210640500000004</c:v>
                </c:pt>
                <c:pt idx="9">
                  <c:v>9.2642553999999997</c:v>
                </c:pt>
                <c:pt idx="10">
                  <c:v>7.3454950099999996</c:v>
                </c:pt>
                <c:pt idx="11">
                  <c:v>5.9949585799999996</c:v>
                </c:pt>
                <c:pt idx="12">
                  <c:v>5.1175185799999996</c:v>
                </c:pt>
                <c:pt idx="13">
                  <c:v>5.4043435899999999</c:v>
                </c:pt>
                <c:pt idx="14">
                  <c:v>5.2386774200000001</c:v>
                </c:pt>
                <c:pt idx="15">
                  <c:v>4.2044315000000001</c:v>
                </c:pt>
                <c:pt idx="16">
                  <c:v>2.2632113999999999</c:v>
                </c:pt>
                <c:pt idx="17">
                  <c:v>1.0789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82-493F-ABE2-6319E5B776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9629152"/>
        <c:axId val="339627584"/>
      </c:lineChart>
      <c:catAx>
        <c:axId val="339629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7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9627584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9152"/>
        <c:crosses val="autoZero"/>
        <c:crossBetween val="between"/>
      </c:valAx>
      <c:spPr>
        <a:noFill/>
        <a:ln w="25399">
          <a:noFill/>
        </a:ln>
      </c:spPr>
    </c:plotArea>
    <c:legend>
      <c:legendPos val="r"/>
      <c:layout>
        <c:manualLayout>
          <c:xMode val="edge"/>
          <c:yMode val="edge"/>
          <c:x val="0.56497993367873844"/>
          <c:y val="0.54845111290222581"/>
          <c:w val="0.2844943330617154"/>
          <c:h val="0.16766470332940667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25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BB-455D-8A0B-B59E9956B44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BB-455D-8A0B-B59E9956B44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8BB-455D-8A0B-B59E9956B44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8BB-455D-8A0B-B59E9956B440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8BB-455D-8A0B-B59E9956B44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8BB-455D-8A0B-B59E9956B44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8BB-455D-8A0B-B59E9956B44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8BB-455D-8A0B-B59E9956B4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7</c:v>
                </c:pt>
                <c:pt idx="1">
                  <c:v>16</c:v>
                </c:pt>
                <c:pt idx="2">
                  <c:v>11</c:v>
                </c:pt>
                <c:pt idx="3">
                  <c:v>10</c:v>
                </c:pt>
                <c:pt idx="4">
                  <c:v>21</c:v>
                </c:pt>
                <c:pt idx="5">
                  <c:v>18</c:v>
                </c:pt>
                <c:pt idx="6">
                  <c:v>16</c:v>
                </c:pt>
                <c:pt idx="7">
                  <c:v>15</c:v>
                </c:pt>
                <c:pt idx="8">
                  <c:v>34</c:v>
                </c:pt>
                <c:pt idx="9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BB-455D-8A0B-B59E9956B44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C$2:$C$11</c:f>
              <c:numCache>
                <c:formatCode>0</c:formatCode>
                <c:ptCount val="10"/>
                <c:pt idx="0">
                  <c:v>26</c:v>
                </c:pt>
                <c:pt idx="1">
                  <c:v>24</c:v>
                </c:pt>
                <c:pt idx="2">
                  <c:v>32</c:v>
                </c:pt>
                <c:pt idx="3">
                  <c:v>33</c:v>
                </c:pt>
                <c:pt idx="4">
                  <c:v>39</c:v>
                </c:pt>
                <c:pt idx="5">
                  <c:v>44</c:v>
                </c:pt>
                <c:pt idx="6">
                  <c:v>18</c:v>
                </c:pt>
                <c:pt idx="7">
                  <c:v>20</c:v>
                </c:pt>
                <c:pt idx="8">
                  <c:v>34</c:v>
                </c:pt>
                <c:pt idx="9" formatCode="General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BB-455D-8A0B-B59E9956B4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CE-4C38-BCAE-62AD60025E67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7CE-4C38-BCAE-62AD60025E67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7CE-4C38-BCAE-62AD60025E67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D98-4171-B14C-22C71010DF17}"/>
              </c:ext>
            </c:extLst>
          </c:dPt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1</c:v>
                </c:pt>
                <c:pt idx="1">
                  <c:v>6</c:v>
                </c:pt>
                <c:pt idx="2">
                  <c:v>10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6</c:v>
                </c:pt>
                <c:pt idx="7">
                  <c:v>3</c:v>
                </c:pt>
                <c:pt idx="8">
                  <c:v>15</c:v>
                </c:pt>
                <c:pt idx="9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7CE-4C38-BCAE-62AD60025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BB-455D-8A0B-B59E9956B44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BB-455D-8A0B-B59E9956B44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8BB-455D-8A0B-B59E9956B44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8BB-455D-8A0B-B59E9956B440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8BB-455D-8A0B-B59E9956B44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8BB-455D-8A0B-B59E9956B44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8BB-455D-8A0B-B59E9956B44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8BB-455D-8A0B-B59E9956B4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4</c:v>
                </c:pt>
                <c:pt idx="5">
                  <c:v>1</c:v>
                </c:pt>
                <c:pt idx="6">
                  <c:v>3</c:v>
                </c:pt>
                <c:pt idx="7">
                  <c:v>1</c:v>
                </c:pt>
                <c:pt idx="8">
                  <c:v>2</c:v>
                </c:pt>
                <c:pt idx="9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BB-455D-8A0B-B59E9956B44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C$2:$C$11</c:f>
              <c:numCache>
                <c:formatCode>0</c:formatCode>
                <c:ptCount val="10"/>
                <c:pt idx="0">
                  <c:v>1</c:v>
                </c:pt>
                <c:pt idx="1">
                  <c:v>6</c:v>
                </c:pt>
                <c:pt idx="2">
                  <c:v>8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3</c:v>
                </c:pt>
                <c:pt idx="7">
                  <c:v>2</c:v>
                </c:pt>
                <c:pt idx="8">
                  <c:v>13</c:v>
                </c:pt>
                <c:pt idx="9" formatCode="General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BB-455D-8A0B-B59E9956B4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95345132035206"/>
          <c:y val="0.17409878913342663"/>
          <c:w val="0.70798015389267699"/>
          <c:h val="0.8146628193414828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registrovaných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PL</c:v>
                </c:pt>
                <c:pt idx="1">
                  <c:v>PLDD</c:v>
                </c:pt>
              </c:strCache>
            </c:strRef>
          </c:cat>
          <c:val>
            <c:numRef>
              <c:f>List1!$B$2:$B$3</c:f>
              <c:numCache>
                <c:formatCode>General</c:formatCode>
                <c:ptCount val="2"/>
                <c:pt idx="0">
                  <c:v>1082923</c:v>
                </c:pt>
                <c:pt idx="1">
                  <c:v>305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5D-40AA-BDD2-1F1777D67BF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683705583"/>
        <c:axId val="345638415"/>
      </c:barChart>
      <c:catAx>
        <c:axId val="6837055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638415"/>
        <c:crosses val="autoZero"/>
        <c:auto val="1"/>
        <c:lblAlgn val="ctr"/>
        <c:lblOffset val="100"/>
        <c:noMultiLvlLbl val="0"/>
      </c:catAx>
      <c:valAx>
        <c:axId val="345638415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3705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30660656225079"/>
          <c:y val="8.3072148482041405E-2"/>
          <c:w val="0.79138635169394056"/>
          <c:h val="0.890471585496148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jiné MČ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PL</c:v>
                </c:pt>
                <c:pt idx="1">
                  <c:v>PLDD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5173211761131675</c:v>
                </c:pt>
                <c:pt idx="1">
                  <c:v>0.7630362020292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8E-4863-A25C-4275147B841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tředočeský kraj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PL</c:v>
                </c:pt>
                <c:pt idx="1">
                  <c:v>PLDD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13471871961349052</c:v>
                </c:pt>
                <c:pt idx="1">
                  <c:v>0.163724610436821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8E-4863-A25C-4275147B841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PL</c:v>
                </c:pt>
                <c:pt idx="1">
                  <c:v>PLDD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1135491627751927</c:v>
                </c:pt>
                <c:pt idx="1">
                  <c:v>7.32391875339782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8E-4863-A25C-4275147B84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82525792"/>
        <c:axId val="582517168"/>
      </c:barChart>
      <c:catAx>
        <c:axId val="582525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17168"/>
        <c:crosses val="autoZero"/>
        <c:auto val="1"/>
        <c:lblAlgn val="ctr"/>
        <c:lblOffset val="100"/>
        <c:noMultiLvlLbl val="0"/>
      </c:catAx>
      <c:valAx>
        <c:axId val="58251716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2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95345132035206"/>
          <c:y val="0.17409878913342663"/>
          <c:w val="0.70798015389267699"/>
          <c:h val="0.8146628193414828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registrovaných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0-19 let</c:v>
                </c:pt>
                <c:pt idx="1">
                  <c:v>20-64 let</c:v>
                </c:pt>
                <c:pt idx="2">
                  <c:v>65+ let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13149</c:v>
                </c:pt>
                <c:pt idx="1">
                  <c:v>79681</c:v>
                </c:pt>
                <c:pt idx="2" formatCode="#,##0">
                  <c:v>31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81-4D2E-BBD8-8912CD15223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683705583"/>
        <c:axId val="345638415"/>
      </c:barChart>
      <c:catAx>
        <c:axId val="6837055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638415"/>
        <c:crosses val="autoZero"/>
        <c:auto val="1"/>
        <c:lblAlgn val="ctr"/>
        <c:lblOffset val="100"/>
        <c:noMultiLvlLbl val="0"/>
      </c:catAx>
      <c:valAx>
        <c:axId val="345638415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3705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30660656225079"/>
          <c:y val="8.3072148482041405E-2"/>
          <c:w val="0.79138635169394056"/>
          <c:h val="0.890471585496148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jiné MČ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0-19 let</c:v>
                </c:pt>
                <c:pt idx="1">
                  <c:v>20-64 let</c:v>
                </c:pt>
                <c:pt idx="2">
                  <c:v>65+ let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0.51669328466043041</c:v>
                </c:pt>
                <c:pt idx="1">
                  <c:v>0.61785118158657648</c:v>
                </c:pt>
                <c:pt idx="2">
                  <c:v>0.76057375212115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A0-45E3-9826-B80F886C05C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tředočeský kraj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0-19 let</c:v>
                </c:pt>
                <c:pt idx="1">
                  <c:v>20-64 let</c:v>
                </c:pt>
                <c:pt idx="2">
                  <c:v>65+ let</c:v>
                </c:pt>
              </c:strCache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0.34869571830557455</c:v>
                </c:pt>
                <c:pt idx="1">
                  <c:v>0.22133256359734441</c:v>
                </c:pt>
                <c:pt idx="2">
                  <c:v>0.166394518618128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A0-45E3-9826-B80F886C05C9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0-19 let</c:v>
                </c:pt>
                <c:pt idx="1">
                  <c:v>20-64 let</c:v>
                </c:pt>
                <c:pt idx="2">
                  <c:v>65+ let</c:v>
                </c:pt>
              </c:strCache>
            </c:strRef>
          </c:cat>
          <c:val>
            <c:numRef>
              <c:f>List1!$D$2:$D$4</c:f>
              <c:numCache>
                <c:formatCode>0.0%</c:formatCode>
                <c:ptCount val="3"/>
                <c:pt idx="0">
                  <c:v>0.13461099703399498</c:v>
                </c:pt>
                <c:pt idx="1">
                  <c:v>0.16081625481607911</c:v>
                </c:pt>
                <c:pt idx="2">
                  <c:v>7.303172926071782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A0-45E3-9826-B80F886C05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82525792"/>
        <c:axId val="582517168"/>
      </c:barChart>
      <c:catAx>
        <c:axId val="582525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17168"/>
        <c:crosses val="autoZero"/>
        <c:auto val="1"/>
        <c:lblAlgn val="ctr"/>
        <c:lblOffset val="100"/>
        <c:noMultiLvlLbl val="0"/>
      </c:catAx>
      <c:valAx>
        <c:axId val="58251716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2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95345132035206"/>
          <c:y val="0.17409878913342663"/>
          <c:w val="0.70798015389267699"/>
          <c:h val="0.8146628193414828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registrovaných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tomatolog</c:v>
                </c:pt>
              </c:strCache>
            </c:strRef>
          </c:cat>
          <c:val>
            <c:numRef>
              <c:f>List1!$B$2</c:f>
              <c:numCache>
                <c:formatCode>General</c:formatCode>
                <c:ptCount val="1"/>
                <c:pt idx="0">
                  <c:v>1334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8-4570-8530-2CB53FFDD38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683705583"/>
        <c:axId val="345638415"/>
      </c:barChart>
      <c:catAx>
        <c:axId val="6837055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638415"/>
        <c:crosses val="autoZero"/>
        <c:auto val="1"/>
        <c:lblAlgn val="ctr"/>
        <c:lblOffset val="100"/>
        <c:noMultiLvlLbl val="0"/>
      </c:catAx>
      <c:valAx>
        <c:axId val="345638415"/>
        <c:scaling>
          <c:orientation val="minMax"/>
        </c:scaling>
        <c:delete val="0"/>
        <c:axPos val="t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3705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30660656225079"/>
          <c:y val="8.3072148482041405E-2"/>
          <c:w val="0.79138635169394056"/>
          <c:h val="0.890471585496148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jiné MČ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tomatolog</c:v>
                </c:pt>
              </c:strCache>
            </c:strRef>
          </c:cat>
          <c:val>
            <c:numRef>
              <c:f>List1!$B$2</c:f>
              <c:numCache>
                <c:formatCode>0.0%</c:formatCode>
                <c:ptCount val="1"/>
                <c:pt idx="0">
                  <c:v>0.64427233094570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B8-4261-874A-677C143A19A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tředočeský kraj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tomatolog</c:v>
                </c:pt>
              </c:strCache>
            </c:strRef>
          </c:cat>
          <c:val>
            <c:numRef>
              <c:f>List1!$C$2</c:f>
              <c:numCache>
                <c:formatCode>0.0%</c:formatCode>
                <c:ptCount val="1"/>
                <c:pt idx="0">
                  <c:v>0.23708014803148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B8-4261-874A-677C143A19AA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tomatolog</c:v>
                </c:pt>
              </c:strCache>
            </c:strRef>
          </c:cat>
          <c:val>
            <c:numRef>
              <c:f>List1!$D$2</c:f>
              <c:numCache>
                <c:formatCode>0.0%</c:formatCode>
                <c:ptCount val="1"/>
                <c:pt idx="0">
                  <c:v>0.118647521022806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B8-4261-874A-677C143A19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82525792"/>
        <c:axId val="582517168"/>
      </c:barChart>
      <c:catAx>
        <c:axId val="582525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17168"/>
        <c:crosses val="autoZero"/>
        <c:auto val="1"/>
        <c:lblAlgn val="ctr"/>
        <c:lblOffset val="100"/>
        <c:noMultiLvlLbl val="0"/>
      </c:catAx>
      <c:valAx>
        <c:axId val="58251716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52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á ordinace praktického lékař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740-4C00-A7DB-31B02913811E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A330-4EDF-89EB-A23CBE26443E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965-4114-A3DB-D722B8AA6A8B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C04E-4FD9-9948-577841CBA82A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E0-4802-8024-6D1AAE8B2C06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E0-4802-8024-6D1AAE8B2C06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D41-402E-BD9C-2B457FFB99EC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4E0-4802-8024-6D1AAE8B2C06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330-4EDF-89EB-A23CBE26443E}"/>
              </c:ext>
            </c:extLst>
          </c:dPt>
          <c:dPt>
            <c:idx val="1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330-4EDF-89EB-A23CBE26443E}"/>
              </c:ext>
            </c:extLst>
          </c:dPt>
          <c:dPt>
            <c:idx val="1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330-4EDF-89EB-A23CBE26443E}"/>
              </c:ext>
            </c:extLst>
          </c:dPt>
          <c:dPt>
            <c:idx val="1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330-4EDF-89EB-A23CBE26443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Olomoucký kraj</c:v>
                </c:pt>
                <c:pt idx="2">
                  <c:v>Královéhradecký kraj</c:v>
                </c:pt>
                <c:pt idx="3">
                  <c:v>Jihomoravský kraj</c:v>
                </c:pt>
                <c:pt idx="4">
                  <c:v>Moravskoslezský kraj</c:v>
                </c:pt>
                <c:pt idx="5">
                  <c:v>ČR</c:v>
                </c:pt>
                <c:pt idx="6">
                  <c:v>Liberecký kraj</c:v>
                </c:pt>
                <c:pt idx="7">
                  <c:v>Zlínský kraj</c:v>
                </c:pt>
                <c:pt idx="8">
                  <c:v>Jihočeský kraj</c:v>
                </c:pt>
                <c:pt idx="9">
                  <c:v>Pardubický kraj</c:v>
                </c:pt>
                <c:pt idx="10">
                  <c:v>Karlovarský kraj</c:v>
                </c:pt>
                <c:pt idx="11">
                  <c:v>Plzeňský kraj</c:v>
                </c:pt>
                <c:pt idx="12">
                  <c:v>Vysočina</c:v>
                </c:pt>
                <c:pt idx="13">
                  <c:v>Úste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0.419265911111445</c:v>
                </c:pt>
                <c:pt idx="1">
                  <c:v>54.504201974205451</c:v>
                </c:pt>
                <c:pt idx="2">
                  <c:v>51.228099376904204</c:v>
                </c:pt>
                <c:pt idx="3">
                  <c:v>49.820528022186551</c:v>
                </c:pt>
                <c:pt idx="4">
                  <c:v>49.639831079260738</c:v>
                </c:pt>
                <c:pt idx="5">
                  <c:v>49.076887687885844</c:v>
                </c:pt>
                <c:pt idx="6">
                  <c:v>48.891126776323148</c:v>
                </c:pt>
                <c:pt idx="7">
                  <c:v>48.875730451520468</c:v>
                </c:pt>
                <c:pt idx="8">
                  <c:v>48.491427427612379</c:v>
                </c:pt>
                <c:pt idx="9">
                  <c:v>47.854669372060783</c:v>
                </c:pt>
                <c:pt idx="10">
                  <c:v>47.433407229974122</c:v>
                </c:pt>
                <c:pt idx="11">
                  <c:v>47.170284392352457</c:v>
                </c:pt>
                <c:pt idx="12">
                  <c:v>45.872740642206665</c:v>
                </c:pt>
                <c:pt idx="13">
                  <c:v>43.256014328971361</c:v>
                </c:pt>
                <c:pt idx="14">
                  <c:v>40.5599294938888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4E0-4802-8024-6D1AAE8B2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1328"/>
        <c:axId val="864140936"/>
      </c:barChart>
      <c:catAx>
        <c:axId val="864141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0936"/>
        <c:crosses val="autoZero"/>
        <c:auto val="1"/>
        <c:lblAlgn val="ctr"/>
        <c:lblOffset val="100"/>
        <c:noMultiLvlLbl val="0"/>
      </c:catAx>
      <c:valAx>
        <c:axId val="864140936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320522290493224E-2"/>
          <c:y val="8.5977506866250136E-2"/>
          <c:w val="0.90600328200177138"/>
          <c:h val="0.9012164520440414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do 59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Sexuologie</c:v>
                </c:pt>
                <c:pt idx="1">
                  <c:v>Dětská a dorostová psychiatrie</c:v>
                </c:pt>
                <c:pt idx="2">
                  <c:v>Praktické lékařství pro děti a dorost</c:v>
                </c:pt>
                <c:pt idx="3">
                  <c:v>Všeobecné praktické lékařství</c:v>
                </c:pt>
                <c:pt idx="4">
                  <c:v>Psychiatrie</c:v>
                </c:pt>
                <c:pt idx="5">
                  <c:v>Stomatologie</c:v>
                </c:pt>
                <c:pt idx="6">
                  <c:v>Klinická psychologie</c:v>
                </c:pt>
                <c:pt idx="7">
                  <c:v>Adiktologie</c:v>
                </c:pt>
              </c:strCache>
            </c:strRef>
          </c:cat>
          <c:val>
            <c:numRef>
              <c:f>List1!$B$2:$B$9</c:f>
              <c:numCache>
                <c:formatCode>0.0%</c:formatCode>
                <c:ptCount val="8"/>
                <c:pt idx="0">
                  <c:v>0.33333333333333326</c:v>
                </c:pt>
                <c:pt idx="1">
                  <c:v>0.54411799999999999</c:v>
                </c:pt>
                <c:pt idx="2">
                  <c:v>0.54517099999999996</c:v>
                </c:pt>
                <c:pt idx="3">
                  <c:v>0.62573699999999999</c:v>
                </c:pt>
                <c:pt idx="4">
                  <c:v>0.66117599999999999</c:v>
                </c:pt>
                <c:pt idx="5">
                  <c:v>0.75428200000000001</c:v>
                </c:pt>
                <c:pt idx="6">
                  <c:v>0.77525773195876302</c:v>
                </c:pt>
                <c:pt idx="7">
                  <c:v>0.938461538461538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66-4268-AA32-CA59B3C4BAB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60-64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BD8-4BCF-A072-BD4DA57DB0D7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E66-4268-AA32-CA59B3C4BA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Sexuologie</c:v>
                </c:pt>
                <c:pt idx="1">
                  <c:v>Dětská a dorostová psychiatrie</c:v>
                </c:pt>
                <c:pt idx="2">
                  <c:v>Praktické lékařství pro děti a dorost</c:v>
                </c:pt>
                <c:pt idx="3">
                  <c:v>Všeobecné praktické lékařství</c:v>
                </c:pt>
                <c:pt idx="4">
                  <c:v>Psychiatrie</c:v>
                </c:pt>
                <c:pt idx="5">
                  <c:v>Stomatologie</c:v>
                </c:pt>
                <c:pt idx="6">
                  <c:v>Klinická psychologie</c:v>
                </c:pt>
                <c:pt idx="7">
                  <c:v>Adiktologie</c:v>
                </c:pt>
              </c:strCache>
            </c:strRef>
          </c:cat>
          <c:val>
            <c:numRef>
              <c:f>List1!$C$2:$C$9</c:f>
              <c:numCache>
                <c:formatCode>0.0%</c:formatCode>
                <c:ptCount val="8"/>
                <c:pt idx="0">
                  <c:v>0.125</c:v>
                </c:pt>
                <c:pt idx="1">
                  <c:v>8.8234999999999994E-2</c:v>
                </c:pt>
                <c:pt idx="2">
                  <c:v>0.11838</c:v>
                </c:pt>
                <c:pt idx="3">
                  <c:v>9.332E-2</c:v>
                </c:pt>
                <c:pt idx="4">
                  <c:v>0.08</c:v>
                </c:pt>
                <c:pt idx="5">
                  <c:v>4.3708999999999998E-2</c:v>
                </c:pt>
                <c:pt idx="6">
                  <c:v>2.8865979381443297E-2</c:v>
                </c:pt>
                <c:pt idx="7">
                  <c:v>4.61538461538461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66-4268-AA32-CA59B3C4BAB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5-69</c:v>
                </c:pt>
              </c:strCache>
            </c:strRef>
          </c:tx>
          <c:spPr>
            <a:solidFill>
              <a:srgbClr val="FF9933"/>
            </a:solidFill>
            <a:ln>
              <a:noFill/>
            </a:ln>
            <a:effectLst/>
          </c:spPr>
          <c:invertIfNegative val="0"/>
          <c:dLbls>
            <c:dLbl>
              <c:idx val="7"/>
              <c:layout>
                <c:manualLayout>
                  <c:x val="3.1729127522278258E-2"/>
                  <c:y val="-7.217937768872918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58-4CF3-8708-77C27D1266AB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BD8-4BCF-A072-BD4DA57DB0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Sexuologie</c:v>
                </c:pt>
                <c:pt idx="1">
                  <c:v>Dětská a dorostová psychiatrie</c:v>
                </c:pt>
                <c:pt idx="2">
                  <c:v>Praktické lékařství pro děti a dorost</c:v>
                </c:pt>
                <c:pt idx="3">
                  <c:v>Všeobecné praktické lékařství</c:v>
                </c:pt>
                <c:pt idx="4">
                  <c:v>Psychiatrie</c:v>
                </c:pt>
                <c:pt idx="5">
                  <c:v>Stomatologie</c:v>
                </c:pt>
                <c:pt idx="6">
                  <c:v>Klinická psychologie</c:v>
                </c:pt>
                <c:pt idx="7">
                  <c:v>Adiktologie</c:v>
                </c:pt>
              </c:strCache>
            </c:strRef>
          </c:cat>
          <c:val>
            <c:numRef>
              <c:f>List1!$D$2:$D$9</c:f>
              <c:numCache>
                <c:formatCode>0.0%</c:formatCode>
                <c:ptCount val="8"/>
                <c:pt idx="0">
                  <c:v>0.20833333333333337</c:v>
                </c:pt>
                <c:pt idx="1">
                  <c:v>4.4117999999999997E-2</c:v>
                </c:pt>
                <c:pt idx="2">
                  <c:v>0.14330200000000001</c:v>
                </c:pt>
                <c:pt idx="3">
                  <c:v>0.117878</c:v>
                </c:pt>
                <c:pt idx="4">
                  <c:v>8.2352999999999996E-2</c:v>
                </c:pt>
                <c:pt idx="5">
                  <c:v>7.9148999999999997E-2</c:v>
                </c:pt>
                <c:pt idx="6">
                  <c:v>5.3608247422680409E-2</c:v>
                </c:pt>
                <c:pt idx="7">
                  <c:v>1.53846153846153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66-4268-AA32-CA59B3C4BABB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0 a víc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58-4CF3-8708-77C27D1266AB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BD8-4BCF-A072-BD4DA57DB0D7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BD8-4BCF-A072-BD4DA57DB0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Sexuologie</c:v>
                </c:pt>
                <c:pt idx="1">
                  <c:v>Dětská a dorostová psychiatrie</c:v>
                </c:pt>
                <c:pt idx="2">
                  <c:v>Praktické lékařství pro děti a dorost</c:v>
                </c:pt>
                <c:pt idx="3">
                  <c:v>Všeobecné praktické lékařství</c:v>
                </c:pt>
                <c:pt idx="4">
                  <c:v>Psychiatrie</c:v>
                </c:pt>
                <c:pt idx="5">
                  <c:v>Stomatologie</c:v>
                </c:pt>
                <c:pt idx="6">
                  <c:v>Klinická psychologie</c:v>
                </c:pt>
                <c:pt idx="7">
                  <c:v>Adiktologie</c:v>
                </c:pt>
              </c:strCache>
            </c:strRef>
          </c:cat>
          <c:val>
            <c:numRef>
              <c:f>List1!$E$2:$E$9</c:f>
              <c:numCache>
                <c:formatCode>0.0%</c:formatCode>
                <c:ptCount val="8"/>
                <c:pt idx="0">
                  <c:v>0.33333333333333326</c:v>
                </c:pt>
                <c:pt idx="1">
                  <c:v>0.32352900000000001</c:v>
                </c:pt>
                <c:pt idx="2">
                  <c:v>0.19314600000000001</c:v>
                </c:pt>
                <c:pt idx="3">
                  <c:v>0.16306499999999999</c:v>
                </c:pt>
                <c:pt idx="4">
                  <c:v>0.17647099999999999</c:v>
                </c:pt>
                <c:pt idx="5">
                  <c:v>0.122859</c:v>
                </c:pt>
                <c:pt idx="6">
                  <c:v>0.1422680412371134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66-4268-AA32-CA59B3C4BA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94240000"/>
        <c:axId val="294217120"/>
      </c:barChart>
      <c:catAx>
        <c:axId val="2942400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4217120"/>
        <c:crosses val="autoZero"/>
        <c:auto val="1"/>
        <c:lblAlgn val="ctr"/>
        <c:lblOffset val="100"/>
        <c:noMultiLvlLbl val="0"/>
      </c:catAx>
      <c:valAx>
        <c:axId val="294217120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4240000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110269698744891"/>
          <c:y val="2.5601096340890049E-3"/>
          <c:w val="0.5575426041553978"/>
          <c:h val="4.26644445670188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é ordinace lékaře specialisty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12D-44A5-B074-C05293CA04C9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16E-470A-903E-C655798E3E83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D36-47C6-945D-7CCD9163D912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805-478F-8C92-A43F46BF8873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A51-458C-B294-C13FAD8C660B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12D-44A5-B074-C05293CA04C9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16E-470A-903E-C655798E3E83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16E-470A-903E-C655798E3E83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95A-4F7B-8410-F83794562A66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16E-470A-903E-C655798E3E83}"/>
              </c:ext>
            </c:extLst>
          </c:dPt>
          <c:dPt>
            <c:idx val="1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95A-4F7B-8410-F83794562A66}"/>
              </c:ext>
            </c:extLst>
          </c:dPt>
          <c:dPt>
            <c:idx val="1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95A-4F7B-8410-F83794562A66}"/>
              </c:ext>
            </c:extLst>
          </c:dPt>
          <c:dPt>
            <c:idx val="1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95A-4F7B-8410-F83794562A6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Hl. m. Praha</c:v>
                </c:pt>
                <c:pt idx="2">
                  <c:v>Zlínský kraj</c:v>
                </c:pt>
                <c:pt idx="3">
                  <c:v>Jihočeský kraj</c:v>
                </c:pt>
                <c:pt idx="4">
                  <c:v>Královéhradecký kraj</c:v>
                </c:pt>
                <c:pt idx="5">
                  <c:v>Moravskoslezský kraj</c:v>
                </c:pt>
                <c:pt idx="6">
                  <c:v>Vysočina</c:v>
                </c:pt>
                <c:pt idx="7">
                  <c:v>ČR</c:v>
                </c:pt>
                <c:pt idx="8">
                  <c:v>Plzeňský kraj</c:v>
                </c:pt>
                <c:pt idx="9">
                  <c:v>Pardubický kraj</c:v>
                </c:pt>
                <c:pt idx="10">
                  <c:v>Karlovarský kraj</c:v>
                </c:pt>
                <c:pt idx="11">
                  <c:v>Liberecký kraj</c:v>
                </c:pt>
                <c:pt idx="12">
                  <c:v>Jihomoravský kraj</c:v>
                </c:pt>
                <c:pt idx="13">
                  <c:v>Úste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4.473907753059208</c:v>
                </c:pt>
                <c:pt idx="1">
                  <c:v>93.803408017422285</c:v>
                </c:pt>
                <c:pt idx="2">
                  <c:v>87.842388385435768</c:v>
                </c:pt>
                <c:pt idx="3">
                  <c:v>85.537129439389489</c:v>
                </c:pt>
                <c:pt idx="4">
                  <c:v>85.070108903656802</c:v>
                </c:pt>
                <c:pt idx="5">
                  <c:v>84.388325261490479</c:v>
                </c:pt>
                <c:pt idx="6">
                  <c:v>84.024818718696267</c:v>
                </c:pt>
                <c:pt idx="7">
                  <c:v>82.964643566696736</c:v>
                </c:pt>
                <c:pt idx="8">
                  <c:v>81.85355672229818</c:v>
                </c:pt>
                <c:pt idx="9">
                  <c:v>81.483074386681722</c:v>
                </c:pt>
                <c:pt idx="10">
                  <c:v>80.90158643883548</c:v>
                </c:pt>
                <c:pt idx="11">
                  <c:v>80.78799170975779</c:v>
                </c:pt>
                <c:pt idx="12">
                  <c:v>80.231789367246137</c:v>
                </c:pt>
                <c:pt idx="13">
                  <c:v>77.687972540470341</c:v>
                </c:pt>
                <c:pt idx="14">
                  <c:v>71.236794314088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16E-470A-903E-C655798E3E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2112"/>
        <c:axId val="864148384"/>
      </c:barChart>
      <c:catAx>
        <c:axId val="8641421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8384"/>
        <c:crosses val="autoZero"/>
        <c:auto val="1"/>
        <c:lblAlgn val="ctr"/>
        <c:lblOffset val="100"/>
        <c:noMultiLvlLbl val="0"/>
      </c:catAx>
      <c:valAx>
        <c:axId val="864148384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2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á ordinace praktického lékař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740-4C00-A7DB-31B02913811E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A330-4EDF-89EB-A23CBE26443E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965-4114-A3DB-D722B8AA6A8B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C04E-4FD9-9948-577841CBA82A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E0-4802-8024-6D1AAE8B2C06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E0-4802-8024-6D1AAE8B2C06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D41-402E-BD9C-2B457FFB99EC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4E0-4802-8024-6D1AAE8B2C06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330-4EDF-89EB-A23CBE26443E}"/>
              </c:ext>
            </c:extLst>
          </c:dPt>
          <c:dPt>
            <c:idx val="1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330-4EDF-89EB-A23CBE26443E}"/>
              </c:ext>
            </c:extLst>
          </c:dPt>
          <c:dPt>
            <c:idx val="1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330-4EDF-89EB-A23CBE26443E}"/>
              </c:ext>
            </c:extLst>
          </c:dPt>
          <c:dPt>
            <c:idx val="1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330-4EDF-89EB-A23CBE26443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morav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Zlínský kraj</c:v>
                </c:pt>
                <c:pt idx="8">
                  <c:v>Jihočeský kraj</c:v>
                </c:pt>
                <c:pt idx="9">
                  <c:v>Karlovarský kraj</c:v>
                </c:pt>
                <c:pt idx="10">
                  <c:v>Liberec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Úste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#\ ##0.0</c:formatCode>
                <c:ptCount val="15"/>
                <c:pt idx="0">
                  <c:v>121.44311196206898</c:v>
                </c:pt>
                <c:pt idx="1">
                  <c:v>80.240525744870496</c:v>
                </c:pt>
                <c:pt idx="2">
                  <c:v>77.231755992063796</c:v>
                </c:pt>
                <c:pt idx="3">
                  <c:v>70.177180008970865</c:v>
                </c:pt>
                <c:pt idx="4">
                  <c:v>69.67481326806319</c:v>
                </c:pt>
                <c:pt idx="5">
                  <c:v>68.64960252625211</c:v>
                </c:pt>
                <c:pt idx="6">
                  <c:v>67.563435891480282</c:v>
                </c:pt>
                <c:pt idx="7">
                  <c:v>62.186324350171134</c:v>
                </c:pt>
                <c:pt idx="8">
                  <c:v>59.848236900282345</c:v>
                </c:pt>
                <c:pt idx="9">
                  <c:v>58.230454297320328</c:v>
                </c:pt>
                <c:pt idx="10">
                  <c:v>57.373527107099719</c:v>
                </c:pt>
                <c:pt idx="11">
                  <c:v>57.259858347096468</c:v>
                </c:pt>
                <c:pt idx="12">
                  <c:v>53.220305311825499</c:v>
                </c:pt>
                <c:pt idx="13">
                  <c:v>46.762813750094665</c:v>
                </c:pt>
                <c:pt idx="14">
                  <c:v>42.136629577827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4E0-4802-8024-6D1AAE8B2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1328"/>
        <c:axId val="864140936"/>
      </c:barChart>
      <c:catAx>
        <c:axId val="864141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0936"/>
        <c:crosses val="autoZero"/>
        <c:auto val="1"/>
        <c:lblAlgn val="ctr"/>
        <c:lblOffset val="100"/>
        <c:noMultiLvlLbl val="0"/>
      </c:catAx>
      <c:valAx>
        <c:axId val="864140936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é ordinace lékaře specialisty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2E2F-4895-89B2-88AD59B44C63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12D-44A5-B074-C05293CA04C9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16E-470A-903E-C655798E3E83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D36-47C6-945D-7CCD9163D912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805-478F-8C92-A43F46BF8873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A51-458C-B294-C13FAD8C660B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12D-44A5-B074-C05293CA04C9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16E-470A-903E-C655798E3E83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16E-470A-903E-C655798E3E83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95A-4F7B-8410-F83794562A66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16E-470A-903E-C655798E3E83}"/>
              </c:ext>
            </c:extLst>
          </c:dPt>
          <c:dPt>
            <c:idx val="1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95A-4F7B-8410-F83794562A66}"/>
              </c:ext>
            </c:extLst>
          </c:dPt>
          <c:dPt>
            <c:idx val="1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95A-4F7B-8410-F83794562A66}"/>
              </c:ext>
            </c:extLst>
          </c:dPt>
          <c:dPt>
            <c:idx val="1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95A-4F7B-8410-F83794562A6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ČR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Karlovarský kraj</c:v>
                </c:pt>
                <c:pt idx="9">
                  <c:v>Vysočina</c:v>
                </c:pt>
                <c:pt idx="10">
                  <c:v>Liberecký kraj</c:v>
                </c:pt>
                <c:pt idx="11">
                  <c:v>Královéhradecký kraj</c:v>
                </c:pt>
                <c:pt idx="12">
                  <c:v>Středočeský kraj</c:v>
                </c:pt>
                <c:pt idx="13">
                  <c:v>Pardubický kraj</c:v>
                </c:pt>
                <c:pt idx="14">
                  <c:v>Zlín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6.861034119519172</c:v>
                </c:pt>
                <c:pt idx="1">
                  <c:v>9.8970678202380924</c:v>
                </c:pt>
                <c:pt idx="2">
                  <c:v>9.1359000862146988</c:v>
                </c:pt>
                <c:pt idx="3">
                  <c:v>7.7549891840020821</c:v>
                </c:pt>
                <c:pt idx="4">
                  <c:v>7.5509702897598023</c:v>
                </c:pt>
                <c:pt idx="5">
                  <c:v>6.3283830288472647</c:v>
                </c:pt>
                <c:pt idx="6">
                  <c:v>6.1653038956840343</c:v>
                </c:pt>
                <c:pt idx="7">
                  <c:v>6.035005252392585</c:v>
                </c:pt>
                <c:pt idx="8">
                  <c:v>5.9849415575947678</c:v>
                </c:pt>
                <c:pt idx="9">
                  <c:v>5.7967509328048905</c:v>
                </c:pt>
                <c:pt idx="10">
                  <c:v>5.637238446906121</c:v>
                </c:pt>
                <c:pt idx="11">
                  <c:v>5.6103950615497071</c:v>
                </c:pt>
                <c:pt idx="12">
                  <c:v>5.4967304051999655</c:v>
                </c:pt>
                <c:pt idx="13">
                  <c:v>5.0944827835386777</c:v>
                </c:pt>
                <c:pt idx="14">
                  <c:v>4.97354406014518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16E-470A-903E-C655798E3E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2112"/>
        <c:axId val="864148384"/>
      </c:barChart>
      <c:catAx>
        <c:axId val="8641421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8384"/>
        <c:crosses val="autoZero"/>
        <c:auto val="1"/>
        <c:lblAlgn val="ctr"/>
        <c:lblOffset val="100"/>
        <c:noMultiLvlLbl val="0"/>
      </c:catAx>
      <c:valAx>
        <c:axId val="864148384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2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á ordinace praktického lékař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740-4C00-A7DB-31B02913811E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A330-4EDF-89EB-A23CBE26443E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7C4-4E42-8EA4-8B9F8240C659}"/>
              </c:ext>
            </c:extLst>
          </c:dPt>
          <c:dPt>
            <c:idx val="5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965-4114-A3DB-D722B8AA6A8B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C04E-4FD9-9948-577841CBA82A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E0-4802-8024-6D1AAE8B2C06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E0-4802-8024-6D1AAE8B2C06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D41-402E-BD9C-2B457FFB99EC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4E0-4802-8024-6D1AAE8B2C06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330-4EDF-89EB-A23CBE26443E}"/>
              </c:ext>
            </c:extLst>
          </c:dPt>
          <c:dPt>
            <c:idx val="1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330-4EDF-89EB-A23CBE26443E}"/>
              </c:ext>
            </c:extLst>
          </c:dPt>
          <c:dPt>
            <c:idx val="1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330-4EDF-89EB-A23CBE26443E}"/>
              </c:ext>
            </c:extLst>
          </c:dPt>
          <c:dPt>
            <c:idx val="1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330-4EDF-89EB-A23CBE26443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moravský kraj</c:v>
                </c:pt>
                <c:pt idx="2">
                  <c:v>Olomoucký kraj</c:v>
                </c:pt>
                <c:pt idx="3">
                  <c:v>ČR</c:v>
                </c:pt>
                <c:pt idx="4">
                  <c:v>Moravskoslez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Plzeňský kraj</c:v>
                </c:pt>
                <c:pt idx="8">
                  <c:v>Liberecký kraj</c:v>
                </c:pt>
                <c:pt idx="9">
                  <c:v>Jihočeský kraj</c:v>
                </c:pt>
                <c:pt idx="10">
                  <c:v>Královéhradecký kraj</c:v>
                </c:pt>
                <c:pt idx="11">
                  <c:v>Ústecký kraj</c:v>
                </c:pt>
                <c:pt idx="12">
                  <c:v>Vysočina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2.706999469567361</c:v>
                </c:pt>
                <c:pt idx="1">
                  <c:v>10.298656916224084</c:v>
                </c:pt>
                <c:pt idx="2">
                  <c:v>9.351833769170069</c:v>
                </c:pt>
                <c:pt idx="3">
                  <c:v>8.5891338139927171</c:v>
                </c:pt>
                <c:pt idx="4">
                  <c:v>8.5083382725362355</c:v>
                </c:pt>
                <c:pt idx="5">
                  <c:v>7.4734293913053396</c:v>
                </c:pt>
                <c:pt idx="6">
                  <c:v>6.4788999853262323</c:v>
                </c:pt>
                <c:pt idx="7">
                  <c:v>5.8987928285121134</c:v>
                </c:pt>
                <c:pt idx="8">
                  <c:v>5.4761105516392528</c:v>
                </c:pt>
                <c:pt idx="9">
                  <c:v>5.136614546042451</c:v>
                </c:pt>
                <c:pt idx="10">
                  <c:v>5.0205889376976574</c:v>
                </c:pt>
                <c:pt idx="11">
                  <c:v>4.6611126678327679</c:v>
                </c:pt>
                <c:pt idx="12">
                  <c:v>4.5523609277142034</c:v>
                </c:pt>
                <c:pt idx="13">
                  <c:v>4.4907012359586762</c:v>
                </c:pt>
                <c:pt idx="14">
                  <c:v>4.3926176569502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4E0-4802-8024-6D1AAE8B2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1328"/>
        <c:axId val="864140936"/>
      </c:barChart>
      <c:catAx>
        <c:axId val="864141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0936"/>
        <c:crosses val="autoZero"/>
        <c:auto val="1"/>
        <c:lblAlgn val="ctr"/>
        <c:lblOffset val="100"/>
        <c:noMultiLvlLbl val="0"/>
      </c:catAx>
      <c:valAx>
        <c:axId val="864140936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é ordinace lékaře specialisty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9888-4B35-B5F9-A14E722A5143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16E-470A-903E-C655798E3E83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D36-47C6-945D-7CCD9163D912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805-478F-8C92-A43F46BF8873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A51-458C-B294-C13FAD8C660B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16E-470A-903E-C655798E3E83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16E-470A-903E-C655798E3E83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95A-4F7B-8410-F83794562A66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16E-470A-903E-C655798E3E83}"/>
              </c:ext>
            </c:extLst>
          </c:dPt>
          <c:dPt>
            <c:idx val="1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95A-4F7B-8410-F83794562A66}"/>
              </c:ext>
            </c:extLst>
          </c:dPt>
          <c:dPt>
            <c:idx val="1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95A-4F7B-8410-F83794562A66}"/>
              </c:ext>
            </c:extLst>
          </c:dPt>
          <c:dPt>
            <c:idx val="1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95A-4F7B-8410-F83794562A6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Olomouc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Liberecký kraj</c:v>
                </c:pt>
                <c:pt idx="7">
                  <c:v>Karlovarský kraj</c:v>
                </c:pt>
                <c:pt idx="8">
                  <c:v>Ústecký kraj</c:v>
                </c:pt>
                <c:pt idx="9">
                  <c:v>Královéhradecký kraj</c:v>
                </c:pt>
                <c:pt idx="10">
                  <c:v>Vysočina</c:v>
                </c:pt>
                <c:pt idx="11">
                  <c:v>Moravskoslezský kraj</c:v>
                </c:pt>
                <c:pt idx="12">
                  <c:v>Zlínský kraj</c:v>
                </c:pt>
                <c:pt idx="13">
                  <c:v>Pardubi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1.310781478730538</c:v>
                </c:pt>
                <c:pt idx="1">
                  <c:v>5.6354564132668035</c:v>
                </c:pt>
                <c:pt idx="2">
                  <c:v>5.4019367635048416</c:v>
                </c:pt>
                <c:pt idx="3">
                  <c:v>4.6529069189031995</c:v>
                </c:pt>
                <c:pt idx="4">
                  <c:v>4.3324525785144452</c:v>
                </c:pt>
                <c:pt idx="5">
                  <c:v>3.9883181917466888</c:v>
                </c:pt>
                <c:pt idx="6">
                  <c:v>3.9567065128645296</c:v>
                </c:pt>
                <c:pt idx="7">
                  <c:v>3.6348812718687369</c:v>
                </c:pt>
                <c:pt idx="8">
                  <c:v>3.2005195046152415</c:v>
                </c:pt>
                <c:pt idx="9">
                  <c:v>2.8617654222191296</c:v>
                </c:pt>
                <c:pt idx="10">
                  <c:v>2.8033191298497422</c:v>
                </c:pt>
                <c:pt idx="11">
                  <c:v>2.7544905226501011</c:v>
                </c:pt>
                <c:pt idx="12">
                  <c:v>2.4211217295675227</c:v>
                </c:pt>
                <c:pt idx="13">
                  <c:v>1.863699084278623</c:v>
                </c:pt>
                <c:pt idx="14">
                  <c:v>1.6139444803098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16E-470A-903E-C655798E3E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2112"/>
        <c:axId val="864148384"/>
      </c:barChart>
      <c:catAx>
        <c:axId val="8641421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8384"/>
        <c:crosses val="autoZero"/>
        <c:auto val="1"/>
        <c:lblAlgn val="ctr"/>
        <c:lblOffset val="100"/>
        <c:noMultiLvlLbl val="0"/>
      </c:catAx>
      <c:valAx>
        <c:axId val="864148384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42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1"/>
  <c:style val="2"/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vazek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CD67-4A4B-824A-2528FA4D04DC}"/>
              </c:ext>
            </c:extLst>
          </c:dPt>
          <c:dPt>
            <c:idx val="1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3-CD67-4A4B-824A-2528FA4D04DC}"/>
              </c:ext>
            </c:extLst>
          </c:dPt>
          <c:dPt>
            <c:idx val="2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5-CD67-4A4B-824A-2528FA4D04DC}"/>
              </c:ext>
            </c:extLst>
          </c:dPt>
          <c:dPt>
            <c:idx val="3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7-CD67-4A4B-824A-2528FA4D04DC}"/>
              </c:ext>
            </c:extLst>
          </c:dPt>
          <c:dPt>
            <c:idx val="4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9-CD67-4A4B-824A-2528FA4D04DC}"/>
              </c:ext>
            </c:extLst>
          </c:dPt>
          <c:dPt>
            <c:idx val="5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B-CD67-4A4B-824A-2528FA4D04DC}"/>
              </c:ext>
            </c:extLst>
          </c:dPt>
          <c:dPt>
            <c:idx val="6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D-CD67-4A4B-824A-2528FA4D04DC}"/>
              </c:ext>
            </c:extLst>
          </c:dPt>
          <c:dPt>
            <c:idx val="7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F-CD67-4A4B-824A-2528FA4D04DC}"/>
              </c:ext>
            </c:extLst>
          </c:dPt>
          <c:dPt>
            <c:idx val="8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11-CD67-4A4B-824A-2528FA4D04DC}"/>
              </c:ext>
            </c:extLst>
          </c:dPt>
          <c:dPt>
            <c:idx val="9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13-CD67-4A4B-824A-2528FA4D04DC}"/>
              </c:ext>
            </c:extLst>
          </c:dPt>
          <c:dPt>
            <c:idx val="10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15-CD67-4A4B-824A-2528FA4D04DC}"/>
              </c:ext>
            </c:extLst>
          </c:dPt>
          <c:dPt>
            <c:idx val="11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17-CD67-4A4B-824A-2528FA4D04DC}"/>
              </c:ext>
            </c:extLst>
          </c:dPt>
          <c:dPt>
            <c:idx val="12"/>
            <c:invertIfNegative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19-CD67-4A4B-824A-2528FA4D04DC}"/>
              </c:ext>
            </c:extLst>
          </c:dPt>
          <c:dPt>
            <c:idx val="13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1B-CD67-4A4B-824A-2528FA4D04DC}"/>
              </c:ext>
            </c:extLst>
          </c:dPt>
          <c:dPt>
            <c:idx val="14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1D-CD67-4A4B-824A-2528FA4D04DC}"/>
              </c:ext>
            </c:extLst>
          </c:dPt>
          <c:dPt>
            <c:idx val="15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1F-CD67-4A4B-824A-2528FA4D04DC}"/>
              </c:ext>
            </c:extLst>
          </c:dPt>
          <c:dPt>
            <c:idx val="16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21-CD67-4A4B-824A-2528FA4D04DC}"/>
              </c:ext>
            </c:extLst>
          </c:dPt>
          <c:dPt>
            <c:idx val="17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23-CD67-4A4B-824A-2528FA4D04DC}"/>
              </c:ext>
            </c:extLst>
          </c:dPt>
          <c:dPt>
            <c:idx val="18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25-CD67-4A4B-824A-2528FA4D04DC}"/>
              </c:ext>
            </c:extLst>
          </c:dPt>
          <c:dPt>
            <c:idx val="19"/>
            <c:invertIfNegative val="1"/>
            <c:bubble3D val="0"/>
            <c:spPr>
              <a:solidFill>
                <a:schemeClr val="tx1"/>
              </a:solidFill>
            </c:spPr>
            <c:extLst>
              <c:ext xmlns:c16="http://schemas.microsoft.com/office/drawing/2014/chart" uri="{C3380CC4-5D6E-409C-BE32-E72D297353CC}">
                <c16:uniqueId val="{00000027-CD67-4A4B-824A-2528FA4D04DC}"/>
              </c:ext>
            </c:extLst>
          </c:dPt>
          <c:dPt>
            <c:idx val="20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29-CD67-4A4B-824A-2528FA4D04DC}"/>
              </c:ext>
            </c:extLst>
          </c:dPt>
          <c:dPt>
            <c:idx val="21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2B-CD67-4A4B-824A-2528FA4D04DC}"/>
              </c:ext>
            </c:extLst>
          </c:dPt>
          <c:dPt>
            <c:idx val="22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2D-CD67-4A4B-824A-2528FA4D04DC}"/>
              </c:ext>
            </c:extLst>
          </c:dPt>
          <c:dPt>
            <c:idx val="23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2F-CD67-4A4B-824A-2528FA4D04DC}"/>
              </c:ext>
            </c:extLst>
          </c:dPt>
          <c:dPt>
            <c:idx val="24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1-CD67-4A4B-824A-2528FA4D04DC}"/>
              </c:ext>
            </c:extLst>
          </c:dPt>
          <c:dPt>
            <c:idx val="25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3-CD67-4A4B-824A-2528FA4D04DC}"/>
              </c:ext>
            </c:extLst>
          </c:dPt>
          <c:dPt>
            <c:idx val="26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5-CD67-4A4B-824A-2528FA4D04DC}"/>
              </c:ext>
            </c:extLst>
          </c:dPt>
          <c:dPt>
            <c:idx val="27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7-CD67-4A4B-824A-2528FA4D04DC}"/>
              </c:ext>
            </c:extLst>
          </c:dPt>
          <c:dPt>
            <c:idx val="28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9-CD67-4A4B-824A-2528FA4D04DC}"/>
              </c:ext>
            </c:extLst>
          </c:dPt>
          <c:dPt>
            <c:idx val="29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B-CD67-4A4B-824A-2528FA4D04DC}"/>
              </c:ext>
            </c:extLst>
          </c:dPt>
          <c:dPt>
            <c:idx val="30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D-CD67-4A4B-824A-2528FA4D04DC}"/>
              </c:ext>
            </c:extLst>
          </c:dPt>
          <c:dPt>
            <c:idx val="31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3F-CD67-4A4B-824A-2528FA4D04DC}"/>
              </c:ext>
            </c:extLst>
          </c:dPt>
          <c:dPt>
            <c:idx val="32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1-CD67-4A4B-824A-2528FA4D04DC}"/>
              </c:ext>
            </c:extLst>
          </c:dPt>
          <c:dPt>
            <c:idx val="33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3-CD67-4A4B-824A-2528FA4D04DC}"/>
              </c:ext>
            </c:extLst>
          </c:dPt>
          <c:dPt>
            <c:idx val="34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5-CD67-4A4B-824A-2528FA4D04DC}"/>
              </c:ext>
            </c:extLst>
          </c:dPt>
          <c:dPt>
            <c:idx val="35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7-CD67-4A4B-824A-2528FA4D04DC}"/>
              </c:ext>
            </c:extLst>
          </c:dPt>
          <c:dPt>
            <c:idx val="36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9-CD67-4A4B-824A-2528FA4D04DC}"/>
              </c:ext>
            </c:extLst>
          </c:dPt>
          <c:dPt>
            <c:idx val="37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B-CD67-4A4B-824A-2528FA4D04DC}"/>
              </c:ext>
            </c:extLst>
          </c:dPt>
          <c:dPt>
            <c:idx val="38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D-CD67-4A4B-824A-2528FA4D04DC}"/>
              </c:ext>
            </c:extLst>
          </c:dPt>
          <c:dPt>
            <c:idx val="39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4F-CD67-4A4B-824A-2528FA4D04DC}"/>
              </c:ext>
            </c:extLst>
          </c:dPt>
          <c:dPt>
            <c:idx val="40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1-CD67-4A4B-824A-2528FA4D04DC}"/>
              </c:ext>
            </c:extLst>
          </c:dPt>
          <c:dPt>
            <c:idx val="41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3-CD67-4A4B-824A-2528FA4D04DC}"/>
              </c:ext>
            </c:extLst>
          </c:dPt>
          <c:dPt>
            <c:idx val="42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5-CD67-4A4B-824A-2528FA4D04DC}"/>
              </c:ext>
            </c:extLst>
          </c:dPt>
          <c:dPt>
            <c:idx val="43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7-CD67-4A4B-824A-2528FA4D04DC}"/>
              </c:ext>
            </c:extLst>
          </c:dPt>
          <c:dPt>
            <c:idx val="44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9-CD67-4A4B-824A-2528FA4D04DC}"/>
              </c:ext>
            </c:extLst>
          </c:dPt>
          <c:dPt>
            <c:idx val="45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B-CD67-4A4B-824A-2528FA4D04DC}"/>
              </c:ext>
            </c:extLst>
          </c:dPt>
          <c:dPt>
            <c:idx val="46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D-CD67-4A4B-824A-2528FA4D04DC}"/>
              </c:ext>
            </c:extLst>
          </c:dPt>
          <c:dPt>
            <c:idx val="47"/>
            <c:invertIfNegative val="1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5F-CD67-4A4B-824A-2528FA4D04D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9</c:f>
              <c:strCache>
                <c:ptCount val="48"/>
                <c:pt idx="0">
                  <c:v>Praha 1</c:v>
                </c:pt>
                <c:pt idx="1">
                  <c:v>Praha 19</c:v>
                </c:pt>
                <c:pt idx="2">
                  <c:v>Praha-Šeberov</c:v>
                </c:pt>
                <c:pt idx="3">
                  <c:v>Praha 2</c:v>
                </c:pt>
                <c:pt idx="4">
                  <c:v>Praha 6</c:v>
                </c:pt>
                <c:pt idx="5">
                  <c:v>Praha-Petrovice</c:v>
                </c:pt>
                <c:pt idx="6">
                  <c:v>Praha 7</c:v>
                </c:pt>
                <c:pt idx="7">
                  <c:v>Praha 4</c:v>
                </c:pt>
                <c:pt idx="8">
                  <c:v>Praha-Kunratice</c:v>
                </c:pt>
                <c:pt idx="9">
                  <c:v>Praha 5</c:v>
                </c:pt>
                <c:pt idx="10">
                  <c:v>Praha-Zbraslav</c:v>
                </c:pt>
                <c:pt idx="11">
                  <c:v>Praha-Klánovice</c:v>
                </c:pt>
                <c:pt idx="12">
                  <c:v>Praha</c:v>
                </c:pt>
                <c:pt idx="13">
                  <c:v>Praha 13</c:v>
                </c:pt>
                <c:pt idx="14">
                  <c:v>Praha-Libuš</c:v>
                </c:pt>
                <c:pt idx="15">
                  <c:v>Praha 12</c:v>
                </c:pt>
                <c:pt idx="16">
                  <c:v>Praha 10</c:v>
                </c:pt>
                <c:pt idx="17">
                  <c:v>Praha 8</c:v>
                </c:pt>
                <c:pt idx="18">
                  <c:v>Praha-Ďáblice</c:v>
                </c:pt>
                <c:pt idx="19">
                  <c:v>ČR</c:v>
                </c:pt>
                <c:pt idx="20">
                  <c:v>Praha 11</c:v>
                </c:pt>
                <c:pt idx="21">
                  <c:v>Praha 16</c:v>
                </c:pt>
                <c:pt idx="22">
                  <c:v>Praha 9</c:v>
                </c:pt>
                <c:pt idx="23">
                  <c:v>Praha 3</c:v>
                </c:pt>
                <c:pt idx="24">
                  <c:v>Praha-Dolní Chabry</c:v>
                </c:pt>
                <c:pt idx="25">
                  <c:v>Praha-Řeporyje</c:v>
                </c:pt>
                <c:pt idx="26">
                  <c:v>Praha 20</c:v>
                </c:pt>
                <c:pt idx="27">
                  <c:v>Praha-Běchovice</c:v>
                </c:pt>
                <c:pt idx="28">
                  <c:v>Praha 15</c:v>
                </c:pt>
                <c:pt idx="29">
                  <c:v>Praha-Satalice</c:v>
                </c:pt>
                <c:pt idx="30">
                  <c:v>Praha 22</c:v>
                </c:pt>
                <c:pt idx="31">
                  <c:v>Praha 17</c:v>
                </c:pt>
                <c:pt idx="32">
                  <c:v>Praha-Nebušice</c:v>
                </c:pt>
                <c:pt idx="33">
                  <c:v>Praha-Dolní Počernice</c:v>
                </c:pt>
                <c:pt idx="34">
                  <c:v>Praha-Velká Chuchle</c:v>
                </c:pt>
                <c:pt idx="35">
                  <c:v>Praha 14</c:v>
                </c:pt>
                <c:pt idx="36">
                  <c:v>Praha-Suchdol</c:v>
                </c:pt>
                <c:pt idx="37">
                  <c:v>Praha-Koloděje</c:v>
                </c:pt>
                <c:pt idx="38">
                  <c:v>Praha-Zličín</c:v>
                </c:pt>
                <c:pt idx="39">
                  <c:v>Praha 18</c:v>
                </c:pt>
                <c:pt idx="40">
                  <c:v>Praha-Kolovraty</c:v>
                </c:pt>
                <c:pt idx="41">
                  <c:v>Praha-Dolní Měcholupy</c:v>
                </c:pt>
                <c:pt idx="42">
                  <c:v>Praha 21</c:v>
                </c:pt>
                <c:pt idx="43">
                  <c:v>Praha-Vinoř</c:v>
                </c:pt>
                <c:pt idx="44">
                  <c:v>Praha-Čakovice</c:v>
                </c:pt>
                <c:pt idx="45">
                  <c:v>Praha-Dubeč</c:v>
                </c:pt>
                <c:pt idx="46">
                  <c:v>Praha-Křeslice</c:v>
                </c:pt>
                <c:pt idx="47">
                  <c:v>Praha-Troja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228.99993040000001</c:v>
                </c:pt>
                <c:pt idx="1">
                  <c:v>130.83488929999999</c:v>
                </c:pt>
                <c:pt idx="2">
                  <c:v>93.167701859999994</c:v>
                </c:pt>
                <c:pt idx="3">
                  <c:v>92.779226940000001</c:v>
                </c:pt>
                <c:pt idx="4">
                  <c:v>86.204004029999993</c:v>
                </c:pt>
                <c:pt idx="5">
                  <c:v>78.799868119999999</c:v>
                </c:pt>
                <c:pt idx="6">
                  <c:v>76.533798480000002</c:v>
                </c:pt>
                <c:pt idx="7">
                  <c:v>75.87649657</c:v>
                </c:pt>
                <c:pt idx="8">
                  <c:v>73.474110499999995</c:v>
                </c:pt>
                <c:pt idx="9">
                  <c:v>72.629361309999993</c:v>
                </c:pt>
                <c:pt idx="10">
                  <c:v>69.013248959999999</c:v>
                </c:pt>
                <c:pt idx="11">
                  <c:v>65.544041449999995</c:v>
                </c:pt>
                <c:pt idx="12">
                  <c:v>60.44826372</c:v>
                </c:pt>
                <c:pt idx="13">
                  <c:v>54.68309197</c:v>
                </c:pt>
                <c:pt idx="14">
                  <c:v>54.218586510000002</c:v>
                </c:pt>
                <c:pt idx="15">
                  <c:v>51.883941159999999</c:v>
                </c:pt>
                <c:pt idx="16">
                  <c:v>51.62902948</c:v>
                </c:pt>
                <c:pt idx="17">
                  <c:v>51.235967479999999</c:v>
                </c:pt>
                <c:pt idx="18">
                  <c:v>50.607287450000001</c:v>
                </c:pt>
                <c:pt idx="19">
                  <c:v>49.031870519999998</c:v>
                </c:pt>
                <c:pt idx="20">
                  <c:v>48.633504260000002</c:v>
                </c:pt>
                <c:pt idx="21">
                  <c:v>48.588616379999998</c:v>
                </c:pt>
                <c:pt idx="22">
                  <c:v>48.084205320000002</c:v>
                </c:pt>
                <c:pt idx="23">
                  <c:v>43.464543079999999</c:v>
                </c:pt>
                <c:pt idx="24">
                  <c:v>42.153669290000003</c:v>
                </c:pt>
                <c:pt idx="25">
                  <c:v>41.616091560000001</c:v>
                </c:pt>
                <c:pt idx="26">
                  <c:v>41.431695249999997</c:v>
                </c:pt>
                <c:pt idx="27">
                  <c:v>38.986354779999999</c:v>
                </c:pt>
                <c:pt idx="28">
                  <c:v>38.692329469999997</c:v>
                </c:pt>
                <c:pt idx="29">
                  <c:v>38.417210910000001</c:v>
                </c:pt>
                <c:pt idx="30">
                  <c:v>37.781579700000002</c:v>
                </c:pt>
                <c:pt idx="31">
                  <c:v>36.574151479999998</c:v>
                </c:pt>
                <c:pt idx="32">
                  <c:v>35.739814150000001</c:v>
                </c:pt>
                <c:pt idx="33">
                  <c:v>33.512064340000002</c:v>
                </c:pt>
                <c:pt idx="34">
                  <c:v>33.013844519999999</c:v>
                </c:pt>
                <c:pt idx="35">
                  <c:v>32.683555519999999</c:v>
                </c:pt>
                <c:pt idx="36">
                  <c:v>32.152911539999998</c:v>
                </c:pt>
                <c:pt idx="37">
                  <c:v>29.832935559999999</c:v>
                </c:pt>
                <c:pt idx="38">
                  <c:v>29.32193036</c:v>
                </c:pt>
                <c:pt idx="39">
                  <c:v>28.082281519999999</c:v>
                </c:pt>
                <c:pt idx="40">
                  <c:v>25.207965720000001</c:v>
                </c:pt>
                <c:pt idx="41">
                  <c:v>24.943876280000001</c:v>
                </c:pt>
                <c:pt idx="42">
                  <c:v>22.891676589999999</c:v>
                </c:pt>
                <c:pt idx="43">
                  <c:v>21.76752286</c:v>
                </c:pt>
                <c:pt idx="44">
                  <c:v>20.567667629999999</c:v>
                </c:pt>
                <c:pt idx="45">
                  <c:v>13.90553824</c:v>
                </c:pt>
                <c:pt idx="46">
                  <c:v>11.64874552</c:v>
                </c:pt>
                <c:pt idx="47">
                  <c:v>9.566326530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0-CD67-4A4B-824A-2528FA4D04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-2068027336"/>
        <c:crosses val="autoZero"/>
        <c:crossBetween val="between"/>
      </c:valAx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vazek</c:v>
                </c:pt>
              </c:strCache>
            </c:strRef>
          </c:tx>
          <c:spPr>
            <a:solidFill>
              <a:srgbClr val="4472C4"/>
            </a:solidFill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CFCD-45E6-A9DB-E5ECB062151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CFCD-45E6-A9DB-E5ECB062151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CFCD-45E6-A9DB-E5ECB062151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CFCD-45E6-A9DB-E5ECB062151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CFCD-45E6-A9DB-E5ECB062151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CFCD-45E6-A9DB-E5ECB062151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CFCD-45E6-A9DB-E5ECB062151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CFCD-45E6-A9DB-E5ECB062151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CFCD-45E6-A9DB-E5ECB062151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CFCD-45E6-A9DB-E5ECB062151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CFCD-45E6-A9DB-E5ECB062151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CFCD-45E6-A9DB-E5ECB062151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CFCD-45E6-A9DB-E5ECB062151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CFCD-45E6-A9DB-E5ECB062151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CFCD-45E6-A9DB-E5ECB062151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F-CFCD-45E6-A9DB-E5ECB062151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CFCD-45E6-A9DB-E5ECB062151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CFCD-45E6-A9DB-E5ECB062151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CFCD-45E6-A9DB-E5ECB062151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CFCD-45E6-A9DB-E5ECB062151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CFCD-45E6-A9DB-E5ECB062151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CFCD-45E6-A9DB-E5ECB062151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CFCD-45E6-A9DB-E5ECB062151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CFCD-45E6-A9DB-E5ECB062151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CFCD-45E6-A9DB-E5ECB062151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CFCD-45E6-A9DB-E5ECB062151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CFCD-45E6-A9DB-E5ECB0621512}"/>
              </c:ext>
            </c:extLst>
          </c:dPt>
          <c:dPt>
            <c:idx val="27"/>
            <c:invertIfNegative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37-CFCD-45E6-A9DB-E5ECB062151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CFCD-45E6-A9DB-E5ECB062151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CFCD-45E6-A9DB-E5ECB0621512}"/>
              </c:ext>
            </c:extLst>
          </c:dPt>
          <c:dPt>
            <c:idx val="3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D-CFCD-45E6-A9DB-E5ECB0621512}"/>
              </c:ext>
            </c:extLst>
          </c:dPt>
          <c:dPt>
            <c:idx val="3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CFCD-45E6-A9DB-E5ECB0621512}"/>
              </c:ext>
            </c:extLst>
          </c:dPt>
          <c:dPt>
            <c:idx val="3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CFCD-45E6-A9DB-E5ECB0621512}"/>
              </c:ext>
            </c:extLst>
          </c:dPt>
          <c:dPt>
            <c:idx val="3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CFCD-45E6-A9DB-E5ECB0621512}"/>
              </c:ext>
            </c:extLst>
          </c:dPt>
          <c:dPt>
            <c:idx val="34"/>
            <c:invertIfNegative val="1"/>
            <c:bubble3D val="0"/>
            <c:spPr>
              <a:solidFill>
                <a:schemeClr val="tx1"/>
              </a:solidFill>
            </c:spPr>
            <c:extLst>
              <c:ext xmlns:c16="http://schemas.microsoft.com/office/drawing/2014/chart" uri="{C3380CC4-5D6E-409C-BE32-E72D297353CC}">
                <c16:uniqueId val="{00000045-CFCD-45E6-A9DB-E5ECB0621512}"/>
              </c:ext>
            </c:extLst>
          </c:dPt>
          <c:dPt>
            <c:idx val="3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CFCD-45E6-A9DB-E5ECB0621512}"/>
              </c:ext>
            </c:extLst>
          </c:dPt>
          <c:dPt>
            <c:idx val="3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CFCD-45E6-A9DB-E5ECB0621512}"/>
              </c:ext>
            </c:extLst>
          </c:dPt>
          <c:dPt>
            <c:idx val="3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CFCD-45E6-A9DB-E5ECB0621512}"/>
              </c:ext>
            </c:extLst>
          </c:dPt>
          <c:dPt>
            <c:idx val="3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CFCD-45E6-A9DB-E5ECB0621512}"/>
              </c:ext>
            </c:extLst>
          </c:dPt>
          <c:dPt>
            <c:idx val="3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CFCD-45E6-A9DB-E5ECB0621512}"/>
              </c:ext>
            </c:extLst>
          </c:dPt>
          <c:dPt>
            <c:idx val="4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CFCD-45E6-A9DB-E5ECB0621512}"/>
              </c:ext>
            </c:extLst>
          </c:dPt>
          <c:dPt>
            <c:idx val="4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CFCD-45E6-A9DB-E5ECB0621512}"/>
              </c:ext>
            </c:extLst>
          </c:dPt>
          <c:dPt>
            <c:idx val="4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CFCD-45E6-A9DB-E5ECB0621512}"/>
              </c:ext>
            </c:extLst>
          </c:dPt>
          <c:dPt>
            <c:idx val="4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CFCD-45E6-A9DB-E5ECB062151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5</c:f>
              <c:strCache>
                <c:ptCount val="44"/>
                <c:pt idx="0">
                  <c:v>Praha 17</c:v>
                </c:pt>
                <c:pt idx="1">
                  <c:v>Praha-Vinoř</c:v>
                </c:pt>
                <c:pt idx="2">
                  <c:v>Praha 1</c:v>
                </c:pt>
                <c:pt idx="3">
                  <c:v>Praha-Libuš</c:v>
                </c:pt>
                <c:pt idx="4">
                  <c:v>Praha-Nebušice</c:v>
                </c:pt>
                <c:pt idx="5">
                  <c:v>Praha-Petrovice</c:v>
                </c:pt>
                <c:pt idx="6">
                  <c:v>Praha 5</c:v>
                </c:pt>
                <c:pt idx="7">
                  <c:v>Praha 2</c:v>
                </c:pt>
                <c:pt idx="8">
                  <c:v>Praha 11</c:v>
                </c:pt>
                <c:pt idx="9">
                  <c:v>Praha-Běchovice</c:v>
                </c:pt>
                <c:pt idx="10">
                  <c:v>Praha 4</c:v>
                </c:pt>
                <c:pt idx="11">
                  <c:v>Praha 16</c:v>
                </c:pt>
                <c:pt idx="12">
                  <c:v>Praha 7</c:v>
                </c:pt>
                <c:pt idx="13">
                  <c:v>Praha-Koloděje</c:v>
                </c:pt>
                <c:pt idx="14">
                  <c:v>Praha 6</c:v>
                </c:pt>
                <c:pt idx="15">
                  <c:v>Praha 8</c:v>
                </c:pt>
                <c:pt idx="16">
                  <c:v>Praha 13</c:v>
                </c:pt>
                <c:pt idx="17">
                  <c:v>Praha 12</c:v>
                </c:pt>
                <c:pt idx="18">
                  <c:v>Praha-Dolní Měcholupy</c:v>
                </c:pt>
                <c:pt idx="19">
                  <c:v>Praha-Ďáblice</c:v>
                </c:pt>
                <c:pt idx="20">
                  <c:v>Praha 22</c:v>
                </c:pt>
                <c:pt idx="21">
                  <c:v>Praha 14</c:v>
                </c:pt>
                <c:pt idx="22">
                  <c:v>Praha-Klánovice</c:v>
                </c:pt>
                <c:pt idx="23">
                  <c:v>Praha-Dolní Počernice</c:v>
                </c:pt>
                <c:pt idx="24">
                  <c:v>Praha 20</c:v>
                </c:pt>
                <c:pt idx="25">
                  <c:v>Praha-Dolní Chabry</c:v>
                </c:pt>
                <c:pt idx="26">
                  <c:v>Praha 18</c:v>
                </c:pt>
                <c:pt idx="27">
                  <c:v>Praha</c:v>
                </c:pt>
                <c:pt idx="28">
                  <c:v>Praha-Kolovraty</c:v>
                </c:pt>
                <c:pt idx="29">
                  <c:v>Praha-Velká Chuchle</c:v>
                </c:pt>
                <c:pt idx="30">
                  <c:v>Praha 10</c:v>
                </c:pt>
                <c:pt idx="31">
                  <c:v>Praha-Řeporyje</c:v>
                </c:pt>
                <c:pt idx="32">
                  <c:v>Praha 9</c:v>
                </c:pt>
                <c:pt idx="33">
                  <c:v>Praha-Zbraslav</c:v>
                </c:pt>
                <c:pt idx="34">
                  <c:v>ČR</c:v>
                </c:pt>
                <c:pt idx="35">
                  <c:v>Praha 3</c:v>
                </c:pt>
                <c:pt idx="36">
                  <c:v>Praha-Suchdol</c:v>
                </c:pt>
                <c:pt idx="37">
                  <c:v>Praha 19</c:v>
                </c:pt>
                <c:pt idx="38">
                  <c:v>Praha 21</c:v>
                </c:pt>
                <c:pt idx="39">
                  <c:v>Praha-Zličín</c:v>
                </c:pt>
                <c:pt idx="40">
                  <c:v>Praha 15</c:v>
                </c:pt>
                <c:pt idx="41">
                  <c:v>Praha-Kunratice</c:v>
                </c:pt>
                <c:pt idx="42">
                  <c:v>Praha-Čakovice</c:v>
                </c:pt>
                <c:pt idx="43">
                  <c:v>Praha-Dubeč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206.81581685744018</c:v>
                </c:pt>
                <c:pt idx="1">
                  <c:v>205.4154995331466</c:v>
                </c:pt>
                <c:pt idx="2">
                  <c:v>204.18098510882015</c:v>
                </c:pt>
                <c:pt idx="3">
                  <c:v>198.5922574157868</c:v>
                </c:pt>
                <c:pt idx="4">
                  <c:v>197.23865877712032</c:v>
                </c:pt>
                <c:pt idx="5">
                  <c:v>183.48623853211009</c:v>
                </c:pt>
                <c:pt idx="6">
                  <c:v>175.18983939251396</c:v>
                </c:pt>
                <c:pt idx="7">
                  <c:v>161.36261766024205</c:v>
                </c:pt>
                <c:pt idx="8">
                  <c:v>145.11335654241319</c:v>
                </c:pt>
                <c:pt idx="9">
                  <c:v>144.84126984126985</c:v>
                </c:pt>
                <c:pt idx="10">
                  <c:v>137.12963428743902</c:v>
                </c:pt>
                <c:pt idx="11">
                  <c:v>133.72093023255812</c:v>
                </c:pt>
                <c:pt idx="12">
                  <c:v>130.45814859599625</c:v>
                </c:pt>
                <c:pt idx="13">
                  <c:v>129.19896640826875</c:v>
                </c:pt>
                <c:pt idx="14">
                  <c:v>126.49241690868023</c:v>
                </c:pt>
                <c:pt idx="15">
                  <c:v>121.96996570888021</c:v>
                </c:pt>
                <c:pt idx="16">
                  <c:v>120.95933263816475</c:v>
                </c:pt>
                <c:pt idx="17">
                  <c:v>118.04352012324281</c:v>
                </c:pt>
                <c:pt idx="18">
                  <c:v>117.92452830188678</c:v>
                </c:pt>
                <c:pt idx="19">
                  <c:v>115.60693641618498</c:v>
                </c:pt>
                <c:pt idx="20">
                  <c:v>114.06844106463879</c:v>
                </c:pt>
                <c:pt idx="21">
                  <c:v>112.89513296537882</c:v>
                </c:pt>
                <c:pt idx="22">
                  <c:v>112.35955056179776</c:v>
                </c:pt>
                <c:pt idx="23">
                  <c:v>105.33910533910534</c:v>
                </c:pt>
                <c:pt idx="24">
                  <c:v>104.20284821118443</c:v>
                </c:pt>
                <c:pt idx="25">
                  <c:v>95.465393794749389</c:v>
                </c:pt>
                <c:pt idx="26">
                  <c:v>94.696969696969703</c:v>
                </c:pt>
                <c:pt idx="27">
                  <c:v>93.8</c:v>
                </c:pt>
                <c:pt idx="28">
                  <c:v>92.250922509225092</c:v>
                </c:pt>
                <c:pt idx="29">
                  <c:v>91.056910569105696</c:v>
                </c:pt>
                <c:pt idx="30">
                  <c:v>90.32480201997015</c:v>
                </c:pt>
                <c:pt idx="31">
                  <c:v>88.80994671403198</c:v>
                </c:pt>
                <c:pt idx="32">
                  <c:v>88.565243062389285</c:v>
                </c:pt>
                <c:pt idx="33">
                  <c:v>86.734693877551024</c:v>
                </c:pt>
                <c:pt idx="34">
                  <c:v>81.198805458902001</c:v>
                </c:pt>
                <c:pt idx="35">
                  <c:v>80.734119437048307</c:v>
                </c:pt>
                <c:pt idx="36">
                  <c:v>77.519379844961236</c:v>
                </c:pt>
                <c:pt idx="37">
                  <c:v>72.788353863381857</c:v>
                </c:pt>
                <c:pt idx="38">
                  <c:v>71.766222604211421</c:v>
                </c:pt>
                <c:pt idx="39">
                  <c:v>61.804697156983927</c:v>
                </c:pt>
                <c:pt idx="40">
                  <c:v>56.975419176298224</c:v>
                </c:pt>
                <c:pt idx="41">
                  <c:v>54.054054054054056</c:v>
                </c:pt>
                <c:pt idx="42">
                  <c:v>34.059945504087189</c:v>
                </c:pt>
                <c:pt idx="43">
                  <c:v>12.46105919003115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58-CFCD-45E6-A9DB-E5ECB06215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-2068027336"/>
        <c:crosses val="autoZero"/>
        <c:crossBetween val="between"/>
      </c:valAx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847-416D-8984-72407BDFFD84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847-416D-8984-72407BDFFD84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847-416D-8984-72407BDFFD84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847-416D-8984-72407BDFFD84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847-416D-8984-72407BDFFD84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847-416D-8984-72407BDFFD84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847-416D-8984-72407BDFFD84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3847-416D-8984-72407BDFFD84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3847-416D-8984-72407BDFFD84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3847-416D-8984-72407BDFFD84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3847-416D-8984-72407BDFFD84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847-416D-8984-72407BDFFD84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3847-416D-8984-72407BDFFD84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3847-416D-8984-72407BDFFD84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3847-416D-8984-72407BDFFD84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3847-416D-8984-72407BDFFD84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3847-416D-8984-72407BDFFD84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3847-416D-8984-72407BDFFD84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3847-416D-8984-72407BDFFD84}"/>
              </c:ext>
            </c:extLst>
          </c:dPt>
          <c:dPt>
            <c:idx val="2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3847-416D-8984-72407BDFFD8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Královéhradecký kraj</c:v>
                </c:pt>
                <c:pt idx="4">
                  <c:v>Pardubický kraj</c:v>
                </c:pt>
                <c:pt idx="5">
                  <c:v>Karlovarský kraj</c:v>
                </c:pt>
                <c:pt idx="6">
                  <c:v>Kraj Vysočina</c:v>
                </c:pt>
                <c:pt idx="7">
                  <c:v>Olomouc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30</c:v>
                </c:pt>
                <c:pt idx="1">
                  <c:v>5</c:v>
                </c:pt>
                <c:pt idx="2">
                  <c:v>3</c:v>
                </c:pt>
                <c:pt idx="3">
                  <c:v>-13</c:v>
                </c:pt>
                <c:pt idx="4">
                  <c:v>-13</c:v>
                </c:pt>
                <c:pt idx="5">
                  <c:v>-17</c:v>
                </c:pt>
                <c:pt idx="6">
                  <c:v>-22</c:v>
                </c:pt>
                <c:pt idx="7">
                  <c:v>-27</c:v>
                </c:pt>
                <c:pt idx="8">
                  <c:v>-27</c:v>
                </c:pt>
                <c:pt idx="9">
                  <c:v>-35</c:v>
                </c:pt>
                <c:pt idx="10">
                  <c:v>-37</c:v>
                </c:pt>
                <c:pt idx="11">
                  <c:v>-37</c:v>
                </c:pt>
                <c:pt idx="12">
                  <c:v>-47</c:v>
                </c:pt>
                <c:pt idx="13">
                  <c:v>-60</c:v>
                </c:pt>
                <c:pt idx="15">
                  <c:v>-170</c:v>
                </c:pt>
                <c:pt idx="16">
                  <c:v>-39</c:v>
                </c:pt>
                <c:pt idx="17">
                  <c:v>-9</c:v>
                </c:pt>
                <c:pt idx="18">
                  <c:v>-51</c:v>
                </c:pt>
                <c:pt idx="19">
                  <c:v>-32</c:v>
                </c:pt>
                <c:pt idx="2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3847-416D-8984-72407BDFFD8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Královéhradecký kraj</c:v>
                </c:pt>
                <c:pt idx="4">
                  <c:v>Pardubický kraj</c:v>
                </c:pt>
                <c:pt idx="5">
                  <c:v>Karlovarský kraj</c:v>
                </c:pt>
                <c:pt idx="6">
                  <c:v>Kraj Vysočina</c:v>
                </c:pt>
                <c:pt idx="7">
                  <c:v>Olomouc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9-3847-416D-8984-72407BDFFD8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Královéhradecký kraj</c:v>
                </c:pt>
                <c:pt idx="4">
                  <c:v>Pardubický kraj</c:v>
                </c:pt>
                <c:pt idx="5">
                  <c:v>Karlovarský kraj</c:v>
                </c:pt>
                <c:pt idx="6">
                  <c:v>Kraj Vysočina</c:v>
                </c:pt>
                <c:pt idx="7">
                  <c:v>Olomouc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A-3847-416D-8984-72407BDFFD8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6448"/>
        <c:crosses val="autoZero"/>
        <c:auto val="1"/>
        <c:lblAlgn val="ctr"/>
        <c:lblOffset val="100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F71-4DC8-856A-F2D57DF90D28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71-4DC8-856A-F2D57DF90D28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F71-4DC8-856A-F2D57DF90D28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71-4DC8-856A-F2D57DF90D28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F71-4DC8-856A-F2D57DF90D28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F71-4DC8-856A-F2D57DF90D28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F71-4DC8-856A-F2D57DF90D28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1F71-4DC8-856A-F2D57DF90D28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1F71-4DC8-856A-F2D57DF90D28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1F71-4DC8-856A-F2D57DF90D28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F71-4DC8-856A-F2D57DF90D28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F71-4DC8-856A-F2D57DF90D28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1F71-4DC8-856A-F2D57DF90D28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1F71-4DC8-856A-F2D57DF90D28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1F71-4DC8-856A-F2D57DF90D28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1F71-4DC8-856A-F2D57DF90D28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1F71-4DC8-856A-F2D57DF90D28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1F71-4DC8-856A-F2D57DF90D28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1F71-4DC8-856A-F2D57DF90D28}"/>
              </c:ext>
            </c:extLst>
          </c:dPt>
          <c:dPt>
            <c:idx val="2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1F71-4DC8-856A-F2D57DF90D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2</c:f>
              <c:strCache>
                <c:ptCount val="31"/>
                <c:pt idx="0">
                  <c:v>Praha 13</c:v>
                </c:pt>
                <c:pt idx="1">
                  <c:v>Praha 5</c:v>
                </c:pt>
                <c:pt idx="2">
                  <c:v>Praha 8</c:v>
                </c:pt>
                <c:pt idx="3">
                  <c:v>Praha 1</c:v>
                </c:pt>
                <c:pt idx="4">
                  <c:v>Praha 7</c:v>
                </c:pt>
                <c:pt idx="5">
                  <c:v>Praha 9</c:v>
                </c:pt>
                <c:pt idx="6">
                  <c:v>Praha 18</c:v>
                </c:pt>
                <c:pt idx="7">
                  <c:v>Praha-Zbraslav</c:v>
                </c:pt>
                <c:pt idx="8">
                  <c:v>Praha 6</c:v>
                </c:pt>
                <c:pt idx="9">
                  <c:v>Praha 11</c:v>
                </c:pt>
                <c:pt idx="10">
                  <c:v>Praha 15</c:v>
                </c:pt>
                <c:pt idx="11">
                  <c:v>Praha 22</c:v>
                </c:pt>
                <c:pt idx="12">
                  <c:v>Praha 19</c:v>
                </c:pt>
                <c:pt idx="13">
                  <c:v>Praha-Křeslice</c:v>
                </c:pt>
                <c:pt idx="14">
                  <c:v>Praha-Šeberov</c:v>
                </c:pt>
                <c:pt idx="15">
                  <c:v>Praha 2</c:v>
                </c:pt>
                <c:pt idx="16">
                  <c:v>Praha 14</c:v>
                </c:pt>
                <c:pt idx="17">
                  <c:v>Praha 17</c:v>
                </c:pt>
                <c:pt idx="18">
                  <c:v>Praha 20</c:v>
                </c:pt>
                <c:pt idx="19">
                  <c:v>Praha-Ďáblice</c:v>
                </c:pt>
                <c:pt idx="20">
                  <c:v>Praha-Dolní Chabry</c:v>
                </c:pt>
                <c:pt idx="21">
                  <c:v>Praha-Klánovice</c:v>
                </c:pt>
                <c:pt idx="22">
                  <c:v>Praha-Libuš</c:v>
                </c:pt>
                <c:pt idx="23">
                  <c:v>Praha-Petrovice</c:v>
                </c:pt>
                <c:pt idx="24">
                  <c:v>Praha-Suchdol</c:v>
                </c:pt>
                <c:pt idx="25">
                  <c:v>Praha-Zličín</c:v>
                </c:pt>
                <c:pt idx="26">
                  <c:v>Praha 4</c:v>
                </c:pt>
                <c:pt idx="27">
                  <c:v>Praha 12</c:v>
                </c:pt>
                <c:pt idx="28">
                  <c:v>Praha 21</c:v>
                </c:pt>
                <c:pt idx="29">
                  <c:v>Praha 3</c:v>
                </c:pt>
                <c:pt idx="30">
                  <c:v>Praha 10</c:v>
                </c:pt>
              </c:strCache>
            </c:strRef>
          </c:cat>
          <c:val>
            <c:numRef>
              <c:f>Sheet1!$B$2:$B$32</c:f>
              <c:numCache>
                <c:formatCode>General</c:formatCode>
                <c:ptCount val="31"/>
                <c:pt idx="0">
                  <c:v>9</c:v>
                </c:pt>
                <c:pt idx="1">
                  <c:v>7</c:v>
                </c:pt>
                <c:pt idx="2">
                  <c:v>4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-1</c:v>
                </c:pt>
                <c:pt idx="27">
                  <c:v>-1</c:v>
                </c:pt>
                <c:pt idx="28">
                  <c:v>-1</c:v>
                </c:pt>
                <c:pt idx="29">
                  <c:v>-4</c:v>
                </c:pt>
                <c:pt idx="30">
                  <c:v>-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1F71-4DC8-856A-F2D57DF90D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32</c:f>
              <c:strCache>
                <c:ptCount val="31"/>
                <c:pt idx="0">
                  <c:v>Praha 13</c:v>
                </c:pt>
                <c:pt idx="1">
                  <c:v>Praha 5</c:v>
                </c:pt>
                <c:pt idx="2">
                  <c:v>Praha 8</c:v>
                </c:pt>
                <c:pt idx="3">
                  <c:v>Praha 1</c:v>
                </c:pt>
                <c:pt idx="4">
                  <c:v>Praha 7</c:v>
                </c:pt>
                <c:pt idx="5">
                  <c:v>Praha 9</c:v>
                </c:pt>
                <c:pt idx="6">
                  <c:v>Praha 18</c:v>
                </c:pt>
                <c:pt idx="7">
                  <c:v>Praha-Zbraslav</c:v>
                </c:pt>
                <c:pt idx="8">
                  <c:v>Praha 6</c:v>
                </c:pt>
                <c:pt idx="9">
                  <c:v>Praha 11</c:v>
                </c:pt>
                <c:pt idx="10">
                  <c:v>Praha 15</c:v>
                </c:pt>
                <c:pt idx="11">
                  <c:v>Praha 22</c:v>
                </c:pt>
                <c:pt idx="12">
                  <c:v>Praha 19</c:v>
                </c:pt>
                <c:pt idx="13">
                  <c:v>Praha-Křeslice</c:v>
                </c:pt>
                <c:pt idx="14">
                  <c:v>Praha-Šeberov</c:v>
                </c:pt>
                <c:pt idx="15">
                  <c:v>Praha 2</c:v>
                </c:pt>
                <c:pt idx="16">
                  <c:v>Praha 14</c:v>
                </c:pt>
                <c:pt idx="17">
                  <c:v>Praha 17</c:v>
                </c:pt>
                <c:pt idx="18">
                  <c:v>Praha 20</c:v>
                </c:pt>
                <c:pt idx="19">
                  <c:v>Praha-Ďáblice</c:v>
                </c:pt>
                <c:pt idx="20">
                  <c:v>Praha-Dolní Chabry</c:v>
                </c:pt>
                <c:pt idx="21">
                  <c:v>Praha-Klánovice</c:v>
                </c:pt>
                <c:pt idx="22">
                  <c:v>Praha-Libuš</c:v>
                </c:pt>
                <c:pt idx="23">
                  <c:v>Praha-Petrovice</c:v>
                </c:pt>
                <c:pt idx="24">
                  <c:v>Praha-Suchdol</c:v>
                </c:pt>
                <c:pt idx="25">
                  <c:v>Praha-Zličín</c:v>
                </c:pt>
                <c:pt idx="26">
                  <c:v>Praha 4</c:v>
                </c:pt>
                <c:pt idx="27">
                  <c:v>Praha 12</c:v>
                </c:pt>
                <c:pt idx="28">
                  <c:v>Praha 21</c:v>
                </c:pt>
                <c:pt idx="29">
                  <c:v>Praha 3</c:v>
                </c:pt>
                <c:pt idx="30">
                  <c:v>Praha 10</c:v>
                </c:pt>
              </c:strCache>
            </c:strRef>
          </c:cat>
          <c:val>
            <c:numRef>
              <c:f>Sheet1!$C$2:$C$32</c:f>
              <c:numCache>
                <c:formatCode>General</c:formatCode>
                <c:ptCount val="31"/>
                <c:pt idx="0">
                  <c:v>9</c:v>
                </c:pt>
                <c:pt idx="1">
                  <c:v>7</c:v>
                </c:pt>
                <c:pt idx="2">
                  <c:v>4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1F71-4DC8-856A-F2D57DF90D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32</c:f>
              <c:strCache>
                <c:ptCount val="31"/>
                <c:pt idx="0">
                  <c:v>Praha 13</c:v>
                </c:pt>
                <c:pt idx="1">
                  <c:v>Praha 5</c:v>
                </c:pt>
                <c:pt idx="2">
                  <c:v>Praha 8</c:v>
                </c:pt>
                <c:pt idx="3">
                  <c:v>Praha 1</c:v>
                </c:pt>
                <c:pt idx="4">
                  <c:v>Praha 7</c:v>
                </c:pt>
                <c:pt idx="5">
                  <c:v>Praha 9</c:v>
                </c:pt>
                <c:pt idx="6">
                  <c:v>Praha 18</c:v>
                </c:pt>
                <c:pt idx="7">
                  <c:v>Praha-Zbraslav</c:v>
                </c:pt>
                <c:pt idx="8">
                  <c:v>Praha 6</c:v>
                </c:pt>
                <c:pt idx="9">
                  <c:v>Praha 11</c:v>
                </c:pt>
                <c:pt idx="10">
                  <c:v>Praha 15</c:v>
                </c:pt>
                <c:pt idx="11">
                  <c:v>Praha 22</c:v>
                </c:pt>
                <c:pt idx="12">
                  <c:v>Praha 19</c:v>
                </c:pt>
                <c:pt idx="13">
                  <c:v>Praha-Křeslice</c:v>
                </c:pt>
                <c:pt idx="14">
                  <c:v>Praha-Šeberov</c:v>
                </c:pt>
                <c:pt idx="15">
                  <c:v>Praha 2</c:v>
                </c:pt>
                <c:pt idx="16">
                  <c:v>Praha 14</c:v>
                </c:pt>
                <c:pt idx="17">
                  <c:v>Praha 17</c:v>
                </c:pt>
                <c:pt idx="18">
                  <c:v>Praha 20</c:v>
                </c:pt>
                <c:pt idx="19">
                  <c:v>Praha-Ďáblice</c:v>
                </c:pt>
                <c:pt idx="20">
                  <c:v>Praha-Dolní Chabry</c:v>
                </c:pt>
                <c:pt idx="21">
                  <c:v>Praha-Klánovice</c:v>
                </c:pt>
                <c:pt idx="22">
                  <c:v>Praha-Libuš</c:v>
                </c:pt>
                <c:pt idx="23">
                  <c:v>Praha-Petrovice</c:v>
                </c:pt>
                <c:pt idx="24">
                  <c:v>Praha-Suchdol</c:v>
                </c:pt>
                <c:pt idx="25">
                  <c:v>Praha-Zličín</c:v>
                </c:pt>
                <c:pt idx="26">
                  <c:v>Praha 4</c:v>
                </c:pt>
                <c:pt idx="27">
                  <c:v>Praha 12</c:v>
                </c:pt>
                <c:pt idx="28">
                  <c:v>Praha 21</c:v>
                </c:pt>
                <c:pt idx="29">
                  <c:v>Praha 3</c:v>
                </c:pt>
                <c:pt idx="30">
                  <c:v>Praha 10</c:v>
                </c:pt>
              </c:strCache>
            </c:strRef>
          </c:cat>
          <c:val>
            <c:numRef>
              <c:f>Sheet1!$D$2:$D$32</c:f>
              <c:numCache>
                <c:formatCode>General</c:formatCode>
                <c:ptCount val="31"/>
                <c:pt idx="26">
                  <c:v>-1</c:v>
                </c:pt>
                <c:pt idx="27">
                  <c:v>-1</c:v>
                </c:pt>
                <c:pt idx="28">
                  <c:v>-1</c:v>
                </c:pt>
                <c:pt idx="29">
                  <c:v>-4</c:v>
                </c:pt>
                <c:pt idx="30">
                  <c:v>-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1F71-4DC8-856A-F2D57DF90D2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6448"/>
        <c:crosses val="autoZero"/>
        <c:auto val="1"/>
        <c:lblAlgn val="ctr"/>
        <c:lblOffset val="100"/>
        <c:tickLblSkip val="1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F96-4F47-A139-D00AFF331AC6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F96-4F47-A139-D00AFF331AC6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96-4F47-A139-D00AFF331AC6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F96-4F47-A139-D00AFF331AC6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F96-4F47-A139-D00AFF331AC6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F96-4F47-A139-D00AFF331AC6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F96-4F47-A139-D00AFF331AC6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F96-4F47-A139-D00AFF331AC6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F96-4F47-A139-D00AFF331AC6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F96-4F47-A139-D00AFF331AC6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AF96-4F47-A139-D00AFF331AC6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AF96-4F47-A139-D00AFF331AC6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AF96-4F47-A139-D00AFF331AC6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AF96-4F47-A139-D00AFF331AC6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AF96-4F47-A139-D00AFF331AC6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AF96-4F47-A139-D00AFF331AC6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AF96-4F47-A139-D00AFF331AC6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AF96-4F47-A139-D00AFF331AC6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AF96-4F47-A139-D00AFF331AC6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AF96-4F47-A139-D00AFF331AC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rálovéhradecký kraj</c:v>
                </c:pt>
                <c:pt idx="2">
                  <c:v>Karlovarský kraj</c:v>
                </c:pt>
                <c:pt idx="3">
                  <c:v>Plzeňský kraj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Hlavní město Praha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Jihomorav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-7</c:v>
                </c:pt>
                <c:pt idx="1">
                  <c:v>-11</c:v>
                </c:pt>
                <c:pt idx="2">
                  <c:v>-12</c:v>
                </c:pt>
                <c:pt idx="3">
                  <c:v>-15</c:v>
                </c:pt>
                <c:pt idx="4">
                  <c:v>-16</c:v>
                </c:pt>
                <c:pt idx="5">
                  <c:v>-17</c:v>
                </c:pt>
                <c:pt idx="6">
                  <c:v>-22</c:v>
                </c:pt>
                <c:pt idx="7">
                  <c:v>-26</c:v>
                </c:pt>
                <c:pt idx="8">
                  <c:v>-37</c:v>
                </c:pt>
                <c:pt idx="9">
                  <c:v>-39</c:v>
                </c:pt>
                <c:pt idx="10">
                  <c:v>-39</c:v>
                </c:pt>
                <c:pt idx="11">
                  <c:v>-46</c:v>
                </c:pt>
                <c:pt idx="12">
                  <c:v>-47</c:v>
                </c:pt>
                <c:pt idx="13">
                  <c:v>-61</c:v>
                </c:pt>
                <c:pt idx="15">
                  <c:v>-199</c:v>
                </c:pt>
                <c:pt idx="16">
                  <c:v>-63</c:v>
                </c:pt>
                <c:pt idx="17">
                  <c:v>-16</c:v>
                </c:pt>
                <c:pt idx="18">
                  <c:v>-59</c:v>
                </c:pt>
                <c:pt idx="19">
                  <c:v>-19</c:v>
                </c:pt>
                <c:pt idx="20">
                  <c:v>-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AF96-4F47-A139-D00AFF331AC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rálovéhradecký kraj</c:v>
                </c:pt>
                <c:pt idx="2">
                  <c:v>Karlovarský kraj</c:v>
                </c:pt>
                <c:pt idx="3">
                  <c:v>Plzeňský kraj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Hlavní město Praha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Jihomorav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9-AF96-4F47-A139-D00AFF331AC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rálovéhradecký kraj</c:v>
                </c:pt>
                <c:pt idx="2">
                  <c:v>Karlovarský kraj</c:v>
                </c:pt>
                <c:pt idx="3">
                  <c:v>Plzeňský kraj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Hlavní město Praha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Jihomorav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A-AF96-4F47-A139-D00AFF331AC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765344"/>
        <c:axId val="411764952"/>
      </c:barChart>
      <c:catAx>
        <c:axId val="4117653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764952"/>
        <c:crosses val="autoZero"/>
        <c:auto val="1"/>
        <c:lblAlgn val="ctr"/>
        <c:lblOffset val="100"/>
        <c:noMultiLvlLbl val="0"/>
      </c:catAx>
      <c:valAx>
        <c:axId val="41176495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76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B58-4C7A-A7B6-0A63B43B1800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B58-4C7A-A7B6-0A63B43B1800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B58-4C7A-A7B6-0A63B43B1800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6B58-4C7A-A7B6-0A63B43B1800}"/>
              </c:ext>
            </c:extLst>
          </c:dPt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104</c:v>
                </c:pt>
                <c:pt idx="1">
                  <c:v>112</c:v>
                </c:pt>
                <c:pt idx="2">
                  <c:v>100</c:v>
                </c:pt>
                <c:pt idx="3">
                  <c:v>113</c:v>
                </c:pt>
                <c:pt idx="4">
                  <c:v>121</c:v>
                </c:pt>
                <c:pt idx="5">
                  <c:v>87</c:v>
                </c:pt>
                <c:pt idx="6">
                  <c:v>95</c:v>
                </c:pt>
                <c:pt idx="7">
                  <c:v>120</c:v>
                </c:pt>
                <c:pt idx="8">
                  <c:v>87</c:v>
                </c:pt>
                <c:pt idx="9" formatCode="General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B58-4C7A-A7B6-0A63B43B18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F96-4F47-A139-D00AFF331AC6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F96-4F47-A139-D00AFF331AC6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96-4F47-A139-D00AFF331AC6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F96-4F47-A139-D00AFF331AC6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F96-4F47-A139-D00AFF331AC6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F96-4F47-A139-D00AFF331AC6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F96-4F47-A139-D00AFF331AC6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F96-4F47-A139-D00AFF331AC6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F96-4F47-A139-D00AFF331AC6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F96-4F47-A139-D00AFF331AC6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AF96-4F47-A139-D00AFF331AC6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AF96-4F47-A139-D00AFF331AC6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AF96-4F47-A139-D00AFF331AC6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AF96-4F47-A139-D00AFF331AC6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AF96-4F47-A139-D00AFF331AC6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AF96-4F47-A139-D00AFF331AC6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AF96-4F47-A139-D00AFF331AC6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AF96-4F47-A139-D00AFF331AC6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AF96-4F47-A139-D00AFF331AC6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AF96-4F47-A139-D00AFF331AC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6</c:f>
              <c:strCache>
                <c:ptCount val="25"/>
                <c:pt idx="0">
                  <c:v>Praha 15</c:v>
                </c:pt>
                <c:pt idx="1">
                  <c:v>Praha 1</c:v>
                </c:pt>
                <c:pt idx="2">
                  <c:v>Praha 18</c:v>
                </c:pt>
                <c:pt idx="3">
                  <c:v>Praha 3</c:v>
                </c:pt>
                <c:pt idx="4">
                  <c:v>Praha 7</c:v>
                </c:pt>
                <c:pt idx="5">
                  <c:v>Praha-Březiněves</c:v>
                </c:pt>
                <c:pt idx="6">
                  <c:v>Praha-Libuš</c:v>
                </c:pt>
                <c:pt idx="7">
                  <c:v>Praha 17</c:v>
                </c:pt>
                <c:pt idx="8">
                  <c:v>Praha 20</c:v>
                </c:pt>
                <c:pt idx="9">
                  <c:v>Praha 8</c:v>
                </c:pt>
                <c:pt idx="10">
                  <c:v>Praha-Petrovice</c:v>
                </c:pt>
                <c:pt idx="11">
                  <c:v>Praha-Vinoř</c:v>
                </c:pt>
                <c:pt idx="12">
                  <c:v>Praha 9</c:v>
                </c:pt>
                <c:pt idx="13">
                  <c:v>Praha 16</c:v>
                </c:pt>
                <c:pt idx="14">
                  <c:v>Praha-Lipence</c:v>
                </c:pt>
                <c:pt idx="15">
                  <c:v>Praha-Zbraslav</c:v>
                </c:pt>
                <c:pt idx="16">
                  <c:v>Praha 11</c:v>
                </c:pt>
                <c:pt idx="17">
                  <c:v>Praha 14</c:v>
                </c:pt>
                <c:pt idx="18">
                  <c:v>Praha 2</c:v>
                </c:pt>
                <c:pt idx="19">
                  <c:v>Praha 5</c:v>
                </c:pt>
                <c:pt idx="20">
                  <c:v>Praha 10</c:v>
                </c:pt>
                <c:pt idx="21">
                  <c:v>Praha 13</c:v>
                </c:pt>
                <c:pt idx="22">
                  <c:v>Praha 12</c:v>
                </c:pt>
                <c:pt idx="23">
                  <c:v>Praha 4</c:v>
                </c:pt>
                <c:pt idx="24">
                  <c:v>Praha 6</c:v>
                </c:pt>
              </c:strCache>
            </c:str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-1</c:v>
                </c:pt>
                <c:pt idx="13">
                  <c:v>-1</c:v>
                </c:pt>
                <c:pt idx="14">
                  <c:v>-1</c:v>
                </c:pt>
                <c:pt idx="15">
                  <c:v>-1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3</c:v>
                </c:pt>
                <c:pt idx="21">
                  <c:v>-3</c:v>
                </c:pt>
                <c:pt idx="22">
                  <c:v>-4</c:v>
                </c:pt>
                <c:pt idx="23">
                  <c:v>-4</c:v>
                </c:pt>
                <c:pt idx="24">
                  <c:v>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AF96-4F47-A139-D00AFF331AC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6</c:f>
              <c:strCache>
                <c:ptCount val="25"/>
                <c:pt idx="0">
                  <c:v>Praha 15</c:v>
                </c:pt>
                <c:pt idx="1">
                  <c:v>Praha 1</c:v>
                </c:pt>
                <c:pt idx="2">
                  <c:v>Praha 18</c:v>
                </c:pt>
                <c:pt idx="3">
                  <c:v>Praha 3</c:v>
                </c:pt>
                <c:pt idx="4">
                  <c:v>Praha 7</c:v>
                </c:pt>
                <c:pt idx="5">
                  <c:v>Praha-Březiněves</c:v>
                </c:pt>
                <c:pt idx="6">
                  <c:v>Praha-Libuš</c:v>
                </c:pt>
                <c:pt idx="7">
                  <c:v>Praha 17</c:v>
                </c:pt>
                <c:pt idx="8">
                  <c:v>Praha 20</c:v>
                </c:pt>
                <c:pt idx="9">
                  <c:v>Praha 8</c:v>
                </c:pt>
                <c:pt idx="10">
                  <c:v>Praha-Petrovice</c:v>
                </c:pt>
                <c:pt idx="11">
                  <c:v>Praha-Vinoř</c:v>
                </c:pt>
                <c:pt idx="12">
                  <c:v>Praha 9</c:v>
                </c:pt>
                <c:pt idx="13">
                  <c:v>Praha 16</c:v>
                </c:pt>
                <c:pt idx="14">
                  <c:v>Praha-Lipence</c:v>
                </c:pt>
                <c:pt idx="15">
                  <c:v>Praha-Zbraslav</c:v>
                </c:pt>
                <c:pt idx="16">
                  <c:v>Praha 11</c:v>
                </c:pt>
                <c:pt idx="17">
                  <c:v>Praha 14</c:v>
                </c:pt>
                <c:pt idx="18">
                  <c:v>Praha 2</c:v>
                </c:pt>
                <c:pt idx="19">
                  <c:v>Praha 5</c:v>
                </c:pt>
                <c:pt idx="20">
                  <c:v>Praha 10</c:v>
                </c:pt>
                <c:pt idx="21">
                  <c:v>Praha 13</c:v>
                </c:pt>
                <c:pt idx="22">
                  <c:v>Praha 12</c:v>
                </c:pt>
                <c:pt idx="23">
                  <c:v>Praha 4</c:v>
                </c:pt>
                <c:pt idx="24">
                  <c:v>Praha 6</c:v>
                </c:pt>
              </c:strCache>
            </c:strRef>
          </c:cat>
          <c:val>
            <c:numRef>
              <c:f>Sheet1!$C$2:$C$26</c:f>
              <c:numCache>
                <c:formatCode>General</c:formatCode>
                <c:ptCount val="25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AF96-4F47-A139-D00AFF331AC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6</c:f>
              <c:strCache>
                <c:ptCount val="25"/>
                <c:pt idx="0">
                  <c:v>Praha 15</c:v>
                </c:pt>
                <c:pt idx="1">
                  <c:v>Praha 1</c:v>
                </c:pt>
                <c:pt idx="2">
                  <c:v>Praha 18</c:v>
                </c:pt>
                <c:pt idx="3">
                  <c:v>Praha 3</c:v>
                </c:pt>
                <c:pt idx="4">
                  <c:v>Praha 7</c:v>
                </c:pt>
                <c:pt idx="5">
                  <c:v>Praha-Březiněves</c:v>
                </c:pt>
                <c:pt idx="6">
                  <c:v>Praha-Libuš</c:v>
                </c:pt>
                <c:pt idx="7">
                  <c:v>Praha 17</c:v>
                </c:pt>
                <c:pt idx="8">
                  <c:v>Praha 20</c:v>
                </c:pt>
                <c:pt idx="9">
                  <c:v>Praha 8</c:v>
                </c:pt>
                <c:pt idx="10">
                  <c:v>Praha-Petrovice</c:v>
                </c:pt>
                <c:pt idx="11">
                  <c:v>Praha-Vinoř</c:v>
                </c:pt>
                <c:pt idx="12">
                  <c:v>Praha 9</c:v>
                </c:pt>
                <c:pt idx="13">
                  <c:v>Praha 16</c:v>
                </c:pt>
                <c:pt idx="14">
                  <c:v>Praha-Lipence</c:v>
                </c:pt>
                <c:pt idx="15">
                  <c:v>Praha-Zbraslav</c:v>
                </c:pt>
                <c:pt idx="16">
                  <c:v>Praha 11</c:v>
                </c:pt>
                <c:pt idx="17">
                  <c:v>Praha 14</c:v>
                </c:pt>
                <c:pt idx="18">
                  <c:v>Praha 2</c:v>
                </c:pt>
                <c:pt idx="19">
                  <c:v>Praha 5</c:v>
                </c:pt>
                <c:pt idx="20">
                  <c:v>Praha 10</c:v>
                </c:pt>
                <c:pt idx="21">
                  <c:v>Praha 13</c:v>
                </c:pt>
                <c:pt idx="22">
                  <c:v>Praha 12</c:v>
                </c:pt>
                <c:pt idx="23">
                  <c:v>Praha 4</c:v>
                </c:pt>
                <c:pt idx="24">
                  <c:v>Praha 6</c:v>
                </c:pt>
              </c:strCache>
            </c:strRef>
          </c:cat>
          <c:val>
            <c:numRef>
              <c:f>Sheet1!$D$2:$D$26</c:f>
              <c:numCache>
                <c:formatCode>General</c:formatCode>
                <c:ptCount val="25"/>
                <c:pt idx="12">
                  <c:v>-1</c:v>
                </c:pt>
                <c:pt idx="13">
                  <c:v>-1</c:v>
                </c:pt>
                <c:pt idx="14">
                  <c:v>-1</c:v>
                </c:pt>
                <c:pt idx="15">
                  <c:v>-1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3</c:v>
                </c:pt>
                <c:pt idx="21">
                  <c:v>-3</c:v>
                </c:pt>
                <c:pt idx="22">
                  <c:v>-4</c:v>
                </c:pt>
                <c:pt idx="23">
                  <c:v>-4</c:v>
                </c:pt>
                <c:pt idx="24">
                  <c:v>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AF96-4F47-A139-D00AFF331AC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765344"/>
        <c:axId val="411764952"/>
      </c:barChart>
      <c:catAx>
        <c:axId val="4117653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764952"/>
        <c:crosses val="autoZero"/>
        <c:auto val="1"/>
        <c:lblAlgn val="ctr"/>
        <c:lblOffset val="100"/>
        <c:tickLblSkip val="1"/>
        <c:noMultiLvlLbl val="0"/>
      </c:catAx>
      <c:valAx>
        <c:axId val="41176495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76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124-4FFE-A5E9-AED45251B86D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24-4FFE-A5E9-AED45251B86D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124-4FFE-A5E9-AED45251B86D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124-4FFE-A5E9-AED45251B86D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124-4FFE-A5E9-AED45251B86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Olomoucký kraj</c:v>
                </c:pt>
                <c:pt idx="2">
                  <c:v>Karlovarský kraj</c:v>
                </c:pt>
                <c:pt idx="3">
                  <c:v>Kraj Vysočina</c:v>
                </c:pt>
                <c:pt idx="4">
                  <c:v>Pardubický kraj</c:v>
                </c:pt>
                <c:pt idx="5">
                  <c:v>Středočeský kraj</c:v>
                </c:pt>
                <c:pt idx="6">
                  <c:v>Jihočeský kraj</c:v>
                </c:pt>
                <c:pt idx="7">
                  <c:v>Plzeňský kraj</c:v>
                </c:pt>
                <c:pt idx="8">
                  <c:v>Liberecký kraj</c:v>
                </c:pt>
                <c:pt idx="9">
                  <c:v>Zlínský kraj</c:v>
                </c:pt>
                <c:pt idx="10">
                  <c:v>Královéhradecký kraj</c:v>
                </c:pt>
                <c:pt idx="11">
                  <c:v>Ústecký kraj</c:v>
                </c:pt>
                <c:pt idx="12">
                  <c:v>Jihomoravs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 001-5 000</c:v>
                </c:pt>
                <c:pt idx="17">
                  <c:v>5 001-10 000</c:v>
                </c:pt>
                <c:pt idx="18">
                  <c:v>10 001-50 000</c:v>
                </c:pt>
                <c:pt idx="19">
                  <c:v>50 001-100 000</c:v>
                </c:pt>
                <c:pt idx="20">
                  <c:v>&gt; 100 000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-5</c:v>
                </c:pt>
                <c:pt idx="1">
                  <c:v>-13</c:v>
                </c:pt>
                <c:pt idx="2">
                  <c:v>-16</c:v>
                </c:pt>
                <c:pt idx="3">
                  <c:v>-19</c:v>
                </c:pt>
                <c:pt idx="4">
                  <c:v>-23</c:v>
                </c:pt>
                <c:pt idx="5">
                  <c:v>-24</c:v>
                </c:pt>
                <c:pt idx="6">
                  <c:v>-26</c:v>
                </c:pt>
                <c:pt idx="7">
                  <c:v>-27</c:v>
                </c:pt>
                <c:pt idx="8">
                  <c:v>-28</c:v>
                </c:pt>
                <c:pt idx="9">
                  <c:v>-34</c:v>
                </c:pt>
                <c:pt idx="10">
                  <c:v>-35</c:v>
                </c:pt>
                <c:pt idx="11">
                  <c:v>-43</c:v>
                </c:pt>
                <c:pt idx="12">
                  <c:v>-57</c:v>
                </c:pt>
                <c:pt idx="13">
                  <c:v>-74</c:v>
                </c:pt>
                <c:pt idx="15">
                  <c:v>-122</c:v>
                </c:pt>
                <c:pt idx="16">
                  <c:v>-88</c:v>
                </c:pt>
                <c:pt idx="17">
                  <c:v>-48</c:v>
                </c:pt>
                <c:pt idx="18">
                  <c:v>-114</c:v>
                </c:pt>
                <c:pt idx="19">
                  <c:v>-23</c:v>
                </c:pt>
                <c:pt idx="20">
                  <c:v>-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4-4FFE-A5E9-AED45251B86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765344"/>
        <c:axId val="411764952"/>
      </c:barChart>
      <c:catAx>
        <c:axId val="4117653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764952"/>
        <c:crosses val="autoZero"/>
        <c:auto val="1"/>
        <c:lblAlgn val="ctr"/>
        <c:lblOffset val="100"/>
        <c:noMultiLvlLbl val="0"/>
      </c:catAx>
      <c:valAx>
        <c:axId val="41176495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76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29-404C-98AC-2A2A343F70E4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29-404C-98AC-2A2A343F70E4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29-404C-98AC-2A2A343F70E4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29-404C-98AC-2A2A343F70E4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29-404C-98AC-2A2A343F70E4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429-404C-98AC-2A2A343F70E4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429-404C-98AC-2A2A343F70E4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429-404C-98AC-2A2A343F70E4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429-404C-98AC-2A2A343F70E4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8429-404C-98AC-2A2A343F70E4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8429-404C-98AC-2A2A343F70E4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8429-404C-98AC-2A2A343F70E4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8429-404C-98AC-2A2A343F70E4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429-404C-98AC-2A2A343F70E4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8429-404C-98AC-2A2A343F70E4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8429-404C-98AC-2A2A343F70E4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8429-404C-98AC-2A2A343F70E4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8429-404C-98AC-2A2A343F70E4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8429-404C-98AC-2A2A343F70E4}"/>
              </c:ext>
            </c:extLst>
          </c:dPt>
          <c:dPt>
            <c:idx val="2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8429-404C-98AC-2A2A343F70E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9</c:f>
              <c:strCache>
                <c:ptCount val="28"/>
                <c:pt idx="0">
                  <c:v>Praha 6</c:v>
                </c:pt>
                <c:pt idx="1">
                  <c:v>Praha 7</c:v>
                </c:pt>
                <c:pt idx="2">
                  <c:v>Praha 18</c:v>
                </c:pt>
                <c:pt idx="3">
                  <c:v>Praha 3</c:v>
                </c:pt>
                <c:pt idx="4">
                  <c:v>Praha 5</c:v>
                </c:pt>
                <c:pt idx="5">
                  <c:v>Praha 2</c:v>
                </c:pt>
                <c:pt idx="6">
                  <c:v>Praha 1</c:v>
                </c:pt>
                <c:pt idx="7">
                  <c:v>Praha 12</c:v>
                </c:pt>
                <c:pt idx="8">
                  <c:v>Praha 15</c:v>
                </c:pt>
                <c:pt idx="9">
                  <c:v>Praha 19</c:v>
                </c:pt>
                <c:pt idx="10">
                  <c:v>Praha-Ďáblice</c:v>
                </c:pt>
                <c:pt idx="11">
                  <c:v>Praha-Zbraslav</c:v>
                </c:pt>
                <c:pt idx="12">
                  <c:v>Praha 14</c:v>
                </c:pt>
                <c:pt idx="13">
                  <c:v>Praha 20</c:v>
                </c:pt>
                <c:pt idx="14">
                  <c:v>Praha 21</c:v>
                </c:pt>
                <c:pt idx="15">
                  <c:v>Praha-Dolní Měcholupy</c:v>
                </c:pt>
                <c:pt idx="16">
                  <c:v>Praha 13</c:v>
                </c:pt>
                <c:pt idx="17">
                  <c:v>Praha 16</c:v>
                </c:pt>
                <c:pt idx="18">
                  <c:v>Praha 17</c:v>
                </c:pt>
                <c:pt idx="19">
                  <c:v>Praha 9</c:v>
                </c:pt>
                <c:pt idx="20">
                  <c:v>Praha-Šeberov</c:v>
                </c:pt>
                <c:pt idx="21">
                  <c:v>Praha-Dolní Počernice</c:v>
                </c:pt>
                <c:pt idx="22">
                  <c:v>Praha 11</c:v>
                </c:pt>
                <c:pt idx="23">
                  <c:v>Praha-Libuš</c:v>
                </c:pt>
                <c:pt idx="24">
                  <c:v>Praha-Petrovice</c:v>
                </c:pt>
                <c:pt idx="25">
                  <c:v>Praha 10</c:v>
                </c:pt>
                <c:pt idx="26">
                  <c:v>Praha 4</c:v>
                </c:pt>
                <c:pt idx="27">
                  <c:v>Praha 8</c:v>
                </c:pt>
              </c:strCache>
            </c:strRef>
          </c:cat>
          <c:val>
            <c:numRef>
              <c:f>Sheet1!$B$2:$B$29</c:f>
              <c:numCache>
                <c:formatCode>General</c:formatCode>
                <c:ptCount val="28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-1</c:v>
                </c:pt>
                <c:pt idx="17">
                  <c:v>-1</c:v>
                </c:pt>
                <c:pt idx="18">
                  <c:v>-1</c:v>
                </c:pt>
                <c:pt idx="19">
                  <c:v>-1</c:v>
                </c:pt>
                <c:pt idx="20">
                  <c:v>-1</c:v>
                </c:pt>
                <c:pt idx="21">
                  <c:v>-1</c:v>
                </c:pt>
                <c:pt idx="22">
                  <c:v>-2</c:v>
                </c:pt>
                <c:pt idx="23">
                  <c:v>-3</c:v>
                </c:pt>
                <c:pt idx="24">
                  <c:v>-3</c:v>
                </c:pt>
                <c:pt idx="25">
                  <c:v>-6</c:v>
                </c:pt>
                <c:pt idx="26">
                  <c:v>-9</c:v>
                </c:pt>
                <c:pt idx="27">
                  <c:v>-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8429-404C-98AC-2A2A343F70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9</c:f>
              <c:strCache>
                <c:ptCount val="28"/>
                <c:pt idx="0">
                  <c:v>Praha 6</c:v>
                </c:pt>
                <c:pt idx="1">
                  <c:v>Praha 7</c:v>
                </c:pt>
                <c:pt idx="2">
                  <c:v>Praha 18</c:v>
                </c:pt>
                <c:pt idx="3">
                  <c:v>Praha 3</c:v>
                </c:pt>
                <c:pt idx="4">
                  <c:v>Praha 5</c:v>
                </c:pt>
                <c:pt idx="5">
                  <c:v>Praha 2</c:v>
                </c:pt>
                <c:pt idx="6">
                  <c:v>Praha 1</c:v>
                </c:pt>
                <c:pt idx="7">
                  <c:v>Praha 12</c:v>
                </c:pt>
                <c:pt idx="8">
                  <c:v>Praha 15</c:v>
                </c:pt>
                <c:pt idx="9">
                  <c:v>Praha 19</c:v>
                </c:pt>
                <c:pt idx="10">
                  <c:v>Praha-Ďáblice</c:v>
                </c:pt>
                <c:pt idx="11">
                  <c:v>Praha-Zbraslav</c:v>
                </c:pt>
                <c:pt idx="12">
                  <c:v>Praha 14</c:v>
                </c:pt>
                <c:pt idx="13">
                  <c:v>Praha 20</c:v>
                </c:pt>
                <c:pt idx="14">
                  <c:v>Praha 21</c:v>
                </c:pt>
                <c:pt idx="15">
                  <c:v>Praha-Dolní Měcholupy</c:v>
                </c:pt>
                <c:pt idx="16">
                  <c:v>Praha 13</c:v>
                </c:pt>
                <c:pt idx="17">
                  <c:v>Praha 16</c:v>
                </c:pt>
                <c:pt idx="18">
                  <c:v>Praha 17</c:v>
                </c:pt>
                <c:pt idx="19">
                  <c:v>Praha 9</c:v>
                </c:pt>
                <c:pt idx="20">
                  <c:v>Praha-Šeberov</c:v>
                </c:pt>
                <c:pt idx="21">
                  <c:v>Praha-Dolní Počernice</c:v>
                </c:pt>
                <c:pt idx="22">
                  <c:v>Praha 11</c:v>
                </c:pt>
                <c:pt idx="23">
                  <c:v>Praha-Libuš</c:v>
                </c:pt>
                <c:pt idx="24">
                  <c:v>Praha-Petrovice</c:v>
                </c:pt>
                <c:pt idx="25">
                  <c:v>Praha 10</c:v>
                </c:pt>
                <c:pt idx="26">
                  <c:v>Praha 4</c:v>
                </c:pt>
                <c:pt idx="27">
                  <c:v>Praha 8</c:v>
                </c:pt>
              </c:strCache>
            </c:strRef>
          </c:cat>
          <c:val>
            <c:numRef>
              <c:f>Sheet1!$C$2:$C$29</c:f>
              <c:numCache>
                <c:formatCode>General</c:formatCode>
                <c:ptCount val="28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8429-404C-98AC-2A2A343F70E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9</c:f>
              <c:strCache>
                <c:ptCount val="28"/>
                <c:pt idx="0">
                  <c:v>Praha 6</c:v>
                </c:pt>
                <c:pt idx="1">
                  <c:v>Praha 7</c:v>
                </c:pt>
                <c:pt idx="2">
                  <c:v>Praha 18</c:v>
                </c:pt>
                <c:pt idx="3">
                  <c:v>Praha 3</c:v>
                </c:pt>
                <c:pt idx="4">
                  <c:v>Praha 5</c:v>
                </c:pt>
                <c:pt idx="5">
                  <c:v>Praha 2</c:v>
                </c:pt>
                <c:pt idx="6">
                  <c:v>Praha 1</c:v>
                </c:pt>
                <c:pt idx="7">
                  <c:v>Praha 12</c:v>
                </c:pt>
                <c:pt idx="8">
                  <c:v>Praha 15</c:v>
                </c:pt>
                <c:pt idx="9">
                  <c:v>Praha 19</c:v>
                </c:pt>
                <c:pt idx="10">
                  <c:v>Praha-Ďáblice</c:v>
                </c:pt>
                <c:pt idx="11">
                  <c:v>Praha-Zbraslav</c:v>
                </c:pt>
                <c:pt idx="12">
                  <c:v>Praha 14</c:v>
                </c:pt>
                <c:pt idx="13">
                  <c:v>Praha 20</c:v>
                </c:pt>
                <c:pt idx="14">
                  <c:v>Praha 21</c:v>
                </c:pt>
                <c:pt idx="15">
                  <c:v>Praha-Dolní Měcholupy</c:v>
                </c:pt>
                <c:pt idx="16">
                  <c:v>Praha 13</c:v>
                </c:pt>
                <c:pt idx="17">
                  <c:v>Praha 16</c:v>
                </c:pt>
                <c:pt idx="18">
                  <c:v>Praha 17</c:v>
                </c:pt>
                <c:pt idx="19">
                  <c:v>Praha 9</c:v>
                </c:pt>
                <c:pt idx="20">
                  <c:v>Praha-Šeberov</c:v>
                </c:pt>
                <c:pt idx="21">
                  <c:v>Praha-Dolní Počernice</c:v>
                </c:pt>
                <c:pt idx="22">
                  <c:v>Praha 11</c:v>
                </c:pt>
                <c:pt idx="23">
                  <c:v>Praha-Libuš</c:v>
                </c:pt>
                <c:pt idx="24">
                  <c:v>Praha-Petrovice</c:v>
                </c:pt>
                <c:pt idx="25">
                  <c:v>Praha 10</c:v>
                </c:pt>
                <c:pt idx="26">
                  <c:v>Praha 4</c:v>
                </c:pt>
                <c:pt idx="27">
                  <c:v>Praha 8</c:v>
                </c:pt>
              </c:strCache>
            </c:strRef>
          </c:cat>
          <c:val>
            <c:numRef>
              <c:f>Sheet1!$D$2:$D$29</c:f>
              <c:numCache>
                <c:formatCode>General</c:formatCode>
                <c:ptCount val="28"/>
                <c:pt idx="16">
                  <c:v>-1</c:v>
                </c:pt>
                <c:pt idx="17">
                  <c:v>-1</c:v>
                </c:pt>
                <c:pt idx="18">
                  <c:v>-1</c:v>
                </c:pt>
                <c:pt idx="19">
                  <c:v>-1</c:v>
                </c:pt>
                <c:pt idx="20">
                  <c:v>-1</c:v>
                </c:pt>
                <c:pt idx="21">
                  <c:v>-1</c:v>
                </c:pt>
                <c:pt idx="22">
                  <c:v>-2</c:v>
                </c:pt>
                <c:pt idx="23">
                  <c:v>-3</c:v>
                </c:pt>
                <c:pt idx="24">
                  <c:v>-3</c:v>
                </c:pt>
                <c:pt idx="25">
                  <c:v>-6</c:v>
                </c:pt>
                <c:pt idx="26">
                  <c:v>-9</c:v>
                </c:pt>
                <c:pt idx="27">
                  <c:v>-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8429-404C-98AC-2A2A343F70E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6448"/>
        <c:crosses val="autoZero"/>
        <c:auto val="1"/>
        <c:lblAlgn val="ctr"/>
        <c:lblOffset val="100"/>
        <c:tickLblSkip val="1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013-4F6C-99DE-47B40F86DD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013-4F6C-99DE-47B40F86DD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9</c:v>
                </c:pt>
                <c:pt idx="1">
                  <c:v>7</c:v>
                </c:pt>
                <c:pt idx="2">
                  <c:v>4</c:v>
                </c:pt>
                <c:pt idx="3">
                  <c:v>8</c:v>
                </c:pt>
                <c:pt idx="4">
                  <c:v>3</c:v>
                </c:pt>
                <c:pt idx="5">
                  <c:v>4</c:v>
                </c:pt>
                <c:pt idx="6">
                  <c:v>2</c:v>
                </c:pt>
                <c:pt idx="7">
                  <c:v>3</c:v>
                </c:pt>
                <c:pt idx="8">
                  <c:v>7</c:v>
                </c:pt>
                <c:pt idx="9">
                  <c:v>8</c:v>
                </c:pt>
                <c:pt idx="10">
                  <c:v>11</c:v>
                </c:pt>
                <c:pt idx="11">
                  <c:v>12</c:v>
                </c:pt>
                <c:pt idx="12">
                  <c:v>9</c:v>
                </c:pt>
                <c:pt idx="13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013-4F6C-99DE-47B40F86DD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64</c:v>
                </c:pt>
                <c:pt idx="1">
                  <c:v>39</c:v>
                </c:pt>
                <c:pt idx="2">
                  <c:v>57</c:v>
                </c:pt>
                <c:pt idx="3">
                  <c:v>50</c:v>
                </c:pt>
                <c:pt idx="4">
                  <c:v>63</c:v>
                </c:pt>
                <c:pt idx="5">
                  <c:v>52</c:v>
                </c:pt>
                <c:pt idx="6">
                  <c:v>60</c:v>
                </c:pt>
                <c:pt idx="7">
                  <c:v>59</c:v>
                </c:pt>
                <c:pt idx="8">
                  <c:v>70</c:v>
                </c:pt>
                <c:pt idx="9">
                  <c:v>69</c:v>
                </c:pt>
                <c:pt idx="10">
                  <c:v>69</c:v>
                </c:pt>
                <c:pt idx="11">
                  <c:v>79</c:v>
                </c:pt>
                <c:pt idx="12">
                  <c:v>83</c:v>
                </c:pt>
                <c:pt idx="13">
                  <c:v>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2BE-47D3-8B0B-C1871B01AB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CE2-4C02-B122-42B72C52A27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E2-4C02-B122-42B72C52A27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</c:v>
                </c:pt>
                <c:pt idx="1">
                  <c:v>7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0</c:v>
                </c:pt>
                <c:pt idx="8">
                  <c:v>3</c:v>
                </c:pt>
                <c:pt idx="9">
                  <c:v>2</c:v>
                </c:pt>
                <c:pt idx="10">
                  <c:v>6</c:v>
                </c:pt>
                <c:pt idx="11">
                  <c:v>1</c:v>
                </c:pt>
                <c:pt idx="12">
                  <c:v>0</c:v>
                </c:pt>
                <c:pt idx="13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E2-4C02-B122-42B72C52A27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40</c:v>
                </c:pt>
                <c:pt idx="1">
                  <c:v>32</c:v>
                </c:pt>
                <c:pt idx="2">
                  <c:v>33</c:v>
                </c:pt>
                <c:pt idx="3">
                  <c:v>28</c:v>
                </c:pt>
                <c:pt idx="4">
                  <c:v>33</c:v>
                </c:pt>
                <c:pt idx="5">
                  <c:v>40</c:v>
                </c:pt>
                <c:pt idx="6">
                  <c:v>29</c:v>
                </c:pt>
                <c:pt idx="7">
                  <c:v>28</c:v>
                </c:pt>
                <c:pt idx="8">
                  <c:v>31</c:v>
                </c:pt>
                <c:pt idx="9">
                  <c:v>30</c:v>
                </c:pt>
                <c:pt idx="10">
                  <c:v>29</c:v>
                </c:pt>
                <c:pt idx="11">
                  <c:v>34</c:v>
                </c:pt>
                <c:pt idx="12">
                  <c:v>33</c:v>
                </c:pt>
                <c:pt idx="13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B4B-451A-8A8A-3D0169EA5E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4677909524889039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24E-4B89-AE38-E2D3279779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4E-4B89-AE38-E2D32797791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4</c:v>
                </c:pt>
                <c:pt idx="1">
                  <c:v>2</c:v>
                </c:pt>
                <c:pt idx="2">
                  <c:v>2</c:v>
                </c:pt>
                <c:pt idx="3">
                  <c:v>0</c:v>
                </c:pt>
                <c:pt idx="4">
                  <c:v>1</c:v>
                </c:pt>
                <c:pt idx="5">
                  <c:v>6</c:v>
                </c:pt>
                <c:pt idx="6">
                  <c:v>9</c:v>
                </c:pt>
                <c:pt idx="7">
                  <c:v>13</c:v>
                </c:pt>
                <c:pt idx="8">
                  <c:v>16</c:v>
                </c:pt>
                <c:pt idx="9">
                  <c:v>8</c:v>
                </c:pt>
                <c:pt idx="10">
                  <c:v>10</c:v>
                </c:pt>
                <c:pt idx="11">
                  <c:v>4</c:v>
                </c:pt>
                <c:pt idx="12">
                  <c:v>1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24E-4B89-AE38-E2D32797791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41</c:v>
                </c:pt>
                <c:pt idx="1">
                  <c:v>26</c:v>
                </c:pt>
                <c:pt idx="2">
                  <c:v>30</c:v>
                </c:pt>
                <c:pt idx="3">
                  <c:v>23</c:v>
                </c:pt>
                <c:pt idx="4">
                  <c:v>30</c:v>
                </c:pt>
                <c:pt idx="5">
                  <c:v>39</c:v>
                </c:pt>
                <c:pt idx="6">
                  <c:v>31</c:v>
                </c:pt>
                <c:pt idx="7">
                  <c:v>45</c:v>
                </c:pt>
                <c:pt idx="8">
                  <c:v>44</c:v>
                </c:pt>
                <c:pt idx="9">
                  <c:v>37</c:v>
                </c:pt>
                <c:pt idx="10">
                  <c:v>38</c:v>
                </c:pt>
                <c:pt idx="11">
                  <c:v>28</c:v>
                </c:pt>
                <c:pt idx="12">
                  <c:v>44</c:v>
                </c:pt>
                <c:pt idx="13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F1D-408F-B83B-5C4075EE45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BEE-4CAD-8E37-74024D3C5A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EE-4CAD-8E37-74024D3C5A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</c:v>
                </c:pt>
                <c:pt idx="1">
                  <c:v>3</c:v>
                </c:pt>
                <c:pt idx="2">
                  <c:v>2</c:v>
                </c:pt>
                <c:pt idx="3">
                  <c:v>9</c:v>
                </c:pt>
                <c:pt idx="4">
                  <c:v>5</c:v>
                </c:pt>
                <c:pt idx="5">
                  <c:v>2</c:v>
                </c:pt>
                <c:pt idx="6">
                  <c:v>3</c:v>
                </c:pt>
                <c:pt idx="7">
                  <c:v>5</c:v>
                </c:pt>
                <c:pt idx="8">
                  <c:v>3</c:v>
                </c:pt>
                <c:pt idx="9">
                  <c:v>14</c:v>
                </c:pt>
                <c:pt idx="10">
                  <c:v>10</c:v>
                </c:pt>
                <c:pt idx="11">
                  <c:v>13</c:v>
                </c:pt>
                <c:pt idx="12">
                  <c:v>12</c:v>
                </c:pt>
                <c:pt idx="13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EE-4CAD-8E37-74024D3C5AF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29</c:v>
                </c:pt>
                <c:pt idx="1">
                  <c:v>123</c:v>
                </c:pt>
                <c:pt idx="2">
                  <c:v>125</c:v>
                </c:pt>
                <c:pt idx="3">
                  <c:v>116</c:v>
                </c:pt>
                <c:pt idx="4">
                  <c:v>98</c:v>
                </c:pt>
                <c:pt idx="5">
                  <c:v>132</c:v>
                </c:pt>
                <c:pt idx="6">
                  <c:v>121</c:v>
                </c:pt>
                <c:pt idx="7">
                  <c:v>116</c:v>
                </c:pt>
                <c:pt idx="8">
                  <c:v>124</c:v>
                </c:pt>
                <c:pt idx="9">
                  <c:v>124</c:v>
                </c:pt>
                <c:pt idx="10">
                  <c:v>109</c:v>
                </c:pt>
                <c:pt idx="11">
                  <c:v>123</c:v>
                </c:pt>
                <c:pt idx="12">
                  <c:v>158</c:v>
                </c:pt>
                <c:pt idx="13">
                  <c:v>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9A-4A81-8B71-9F368B201E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EC-4E9F-828D-56F611DB69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3</c:v>
                </c:pt>
                <c:pt idx="1">
                  <c:v>1</c:v>
                </c:pt>
                <c:pt idx="2">
                  <c:v>2</c:v>
                </c:pt>
                <c:pt idx="3">
                  <c:v>7</c:v>
                </c:pt>
                <c:pt idx="4">
                  <c:v>3</c:v>
                </c:pt>
                <c:pt idx="5">
                  <c:v>1</c:v>
                </c:pt>
                <c:pt idx="6">
                  <c:v>5</c:v>
                </c:pt>
                <c:pt idx="7">
                  <c:v>3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2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EC-4E9F-828D-56F611DB69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2</c:v>
                </c:pt>
                <c:pt idx="1">
                  <c:v>19</c:v>
                </c:pt>
                <c:pt idx="2">
                  <c:v>22</c:v>
                </c:pt>
                <c:pt idx="3">
                  <c:v>24</c:v>
                </c:pt>
                <c:pt idx="4">
                  <c:v>34</c:v>
                </c:pt>
                <c:pt idx="5">
                  <c:v>32</c:v>
                </c:pt>
                <c:pt idx="6">
                  <c:v>21</c:v>
                </c:pt>
                <c:pt idx="7">
                  <c:v>43</c:v>
                </c:pt>
                <c:pt idx="8">
                  <c:v>56</c:v>
                </c:pt>
                <c:pt idx="9">
                  <c:v>53</c:v>
                </c:pt>
                <c:pt idx="10">
                  <c:v>51</c:v>
                </c:pt>
                <c:pt idx="11">
                  <c:v>66</c:v>
                </c:pt>
                <c:pt idx="12">
                  <c:v>78</c:v>
                </c:pt>
                <c:pt idx="13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CEC-4E9F-828D-56F611DB69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66</c:v>
                </c:pt>
                <c:pt idx="1">
                  <c:v>168</c:v>
                </c:pt>
                <c:pt idx="2">
                  <c:v>149</c:v>
                </c:pt>
                <c:pt idx="3">
                  <c:v>150</c:v>
                </c:pt>
                <c:pt idx="4">
                  <c:v>162</c:v>
                </c:pt>
                <c:pt idx="5">
                  <c:v>163</c:v>
                </c:pt>
                <c:pt idx="6">
                  <c:v>175</c:v>
                </c:pt>
                <c:pt idx="7">
                  <c:v>237</c:v>
                </c:pt>
                <c:pt idx="8">
                  <c:v>296</c:v>
                </c:pt>
                <c:pt idx="9">
                  <c:v>335</c:v>
                </c:pt>
                <c:pt idx="10">
                  <c:v>328</c:v>
                </c:pt>
                <c:pt idx="11">
                  <c:v>402</c:v>
                </c:pt>
                <c:pt idx="12">
                  <c:v>543</c:v>
                </c:pt>
                <c:pt idx="13">
                  <c:v>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A6-427D-AE59-7C76F7660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6</c:v>
                </c:pt>
                <c:pt idx="1">
                  <c:v>18</c:v>
                </c:pt>
                <c:pt idx="2">
                  <c:v>12</c:v>
                </c:pt>
                <c:pt idx="3">
                  <c:v>20</c:v>
                </c:pt>
                <c:pt idx="4">
                  <c:v>19</c:v>
                </c:pt>
                <c:pt idx="5">
                  <c:v>13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7</c:v>
                </c:pt>
                <c:pt idx="10">
                  <c:v>8</c:v>
                </c:pt>
                <c:pt idx="11">
                  <c:v>3</c:v>
                </c:pt>
                <c:pt idx="12">
                  <c:v>6</c:v>
                </c:pt>
                <c:pt idx="13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083-4DAF-AFB6-4A71410B49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68</c:v>
                </c:pt>
                <c:pt idx="1">
                  <c:v>76</c:v>
                </c:pt>
                <c:pt idx="2">
                  <c:v>79</c:v>
                </c:pt>
                <c:pt idx="3">
                  <c:v>101</c:v>
                </c:pt>
                <c:pt idx="4">
                  <c:v>90</c:v>
                </c:pt>
                <c:pt idx="5">
                  <c:v>115</c:v>
                </c:pt>
                <c:pt idx="6">
                  <c:v>98</c:v>
                </c:pt>
                <c:pt idx="7">
                  <c:v>89</c:v>
                </c:pt>
                <c:pt idx="8">
                  <c:v>66</c:v>
                </c:pt>
                <c:pt idx="9">
                  <c:v>72</c:v>
                </c:pt>
                <c:pt idx="10">
                  <c:v>66</c:v>
                </c:pt>
                <c:pt idx="11">
                  <c:v>50</c:v>
                </c:pt>
                <c:pt idx="12">
                  <c:v>56</c:v>
                </c:pt>
                <c:pt idx="13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083-4DAF-AFB6-4A71410B491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95</c:v>
                </c:pt>
                <c:pt idx="1">
                  <c:v>217</c:v>
                </c:pt>
                <c:pt idx="2">
                  <c:v>241</c:v>
                </c:pt>
                <c:pt idx="3">
                  <c:v>232</c:v>
                </c:pt>
                <c:pt idx="4">
                  <c:v>252</c:v>
                </c:pt>
                <c:pt idx="5">
                  <c:v>269</c:v>
                </c:pt>
                <c:pt idx="6">
                  <c:v>267</c:v>
                </c:pt>
                <c:pt idx="7">
                  <c:v>267</c:v>
                </c:pt>
                <c:pt idx="8">
                  <c:v>318</c:v>
                </c:pt>
                <c:pt idx="9">
                  <c:v>344</c:v>
                </c:pt>
                <c:pt idx="10">
                  <c:v>305</c:v>
                </c:pt>
                <c:pt idx="11">
                  <c:v>390</c:v>
                </c:pt>
                <c:pt idx="12">
                  <c:v>499</c:v>
                </c:pt>
                <c:pt idx="13">
                  <c:v>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083-4DAF-AFB6-4A71410B491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809</c:v>
                </c:pt>
                <c:pt idx="1">
                  <c:v>828</c:v>
                </c:pt>
                <c:pt idx="2">
                  <c:v>794</c:v>
                </c:pt>
                <c:pt idx="3">
                  <c:v>796</c:v>
                </c:pt>
                <c:pt idx="4">
                  <c:v>763</c:v>
                </c:pt>
                <c:pt idx="5">
                  <c:v>856</c:v>
                </c:pt>
                <c:pt idx="6">
                  <c:v>876</c:v>
                </c:pt>
                <c:pt idx="7">
                  <c:v>990</c:v>
                </c:pt>
                <c:pt idx="8">
                  <c:v>1094</c:v>
                </c:pt>
                <c:pt idx="9">
                  <c:v>1224</c:v>
                </c:pt>
                <c:pt idx="10">
                  <c:v>1237</c:v>
                </c:pt>
                <c:pt idx="11">
                  <c:v>1575</c:v>
                </c:pt>
                <c:pt idx="12">
                  <c:v>2027</c:v>
                </c:pt>
                <c:pt idx="13">
                  <c:v>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2A-47FB-8CCC-FF302B29C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013-4F6C-99DE-47B40F86DD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4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013-4F6C-99DE-47B40F86DD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</c:v>
                </c:pt>
                <c:pt idx="1">
                  <c:v>5</c:v>
                </c:pt>
                <c:pt idx="2">
                  <c:v>10</c:v>
                </c:pt>
                <c:pt idx="3">
                  <c:v>14</c:v>
                </c:pt>
                <c:pt idx="4">
                  <c:v>14</c:v>
                </c:pt>
                <c:pt idx="5">
                  <c:v>8</c:v>
                </c:pt>
                <c:pt idx="6">
                  <c:v>13</c:v>
                </c:pt>
                <c:pt idx="7">
                  <c:v>26</c:v>
                </c:pt>
                <c:pt idx="8">
                  <c:v>31</c:v>
                </c:pt>
                <c:pt idx="9">
                  <c:v>28</c:v>
                </c:pt>
                <c:pt idx="10">
                  <c:v>13</c:v>
                </c:pt>
                <c:pt idx="11">
                  <c:v>29</c:v>
                </c:pt>
                <c:pt idx="12">
                  <c:v>32</c:v>
                </c:pt>
                <c:pt idx="13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013-4F6C-99DE-47B40F86DD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54</c:v>
                </c:pt>
                <c:pt idx="1">
                  <c:v>170</c:v>
                </c:pt>
                <c:pt idx="2">
                  <c:v>140</c:v>
                </c:pt>
                <c:pt idx="3">
                  <c:v>132</c:v>
                </c:pt>
                <c:pt idx="4">
                  <c:v>135</c:v>
                </c:pt>
                <c:pt idx="5">
                  <c:v>142</c:v>
                </c:pt>
                <c:pt idx="6">
                  <c:v>156</c:v>
                </c:pt>
                <c:pt idx="7">
                  <c:v>196</c:v>
                </c:pt>
                <c:pt idx="8">
                  <c:v>229</c:v>
                </c:pt>
                <c:pt idx="9">
                  <c:v>259</c:v>
                </c:pt>
                <c:pt idx="10">
                  <c:v>231</c:v>
                </c:pt>
                <c:pt idx="11">
                  <c:v>268</c:v>
                </c:pt>
                <c:pt idx="12">
                  <c:v>332</c:v>
                </c:pt>
                <c:pt idx="13">
                  <c:v>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13-4248-BF44-B2CEDE440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DE3-4F04-95E8-F4196C1D282B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DE3-4F04-95E8-F4196C1D282B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DE3-4F04-95E8-F4196C1D282B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DE3-4F04-95E8-F4196C1D282B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5DE3-4F04-95E8-F4196C1D282B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5DE3-4F04-95E8-F4196C1D282B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5DE3-4F04-95E8-F4196C1D282B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5DE3-4F04-95E8-F4196C1D282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33</c:v>
                </c:pt>
                <c:pt idx="1">
                  <c:v>20</c:v>
                </c:pt>
                <c:pt idx="2">
                  <c:v>26</c:v>
                </c:pt>
                <c:pt idx="3">
                  <c:v>24</c:v>
                </c:pt>
                <c:pt idx="4">
                  <c:v>34</c:v>
                </c:pt>
                <c:pt idx="5">
                  <c:v>29</c:v>
                </c:pt>
                <c:pt idx="6">
                  <c:v>31</c:v>
                </c:pt>
                <c:pt idx="7">
                  <c:v>32</c:v>
                </c:pt>
                <c:pt idx="8">
                  <c:v>29</c:v>
                </c:pt>
                <c:pt idx="9" formatCode="General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DE3-4F04-95E8-F4196C1D28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C$2:$C$11</c:f>
              <c:numCache>
                <c:formatCode>0</c:formatCode>
                <c:ptCount val="10"/>
                <c:pt idx="0">
                  <c:v>71</c:v>
                </c:pt>
                <c:pt idx="1">
                  <c:v>92</c:v>
                </c:pt>
                <c:pt idx="2">
                  <c:v>74</c:v>
                </c:pt>
                <c:pt idx="3">
                  <c:v>89</c:v>
                </c:pt>
                <c:pt idx="4">
                  <c:v>87</c:v>
                </c:pt>
                <c:pt idx="5">
                  <c:v>58</c:v>
                </c:pt>
                <c:pt idx="6">
                  <c:v>64</c:v>
                </c:pt>
                <c:pt idx="7">
                  <c:v>88</c:v>
                </c:pt>
                <c:pt idx="8">
                  <c:v>58</c:v>
                </c:pt>
                <c:pt idx="9" formatCode="General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DE3-4F04-95E8-F4196C1D28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CE2-4C02-B122-42B72C52A27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8</c:v>
                </c:pt>
                <c:pt idx="1">
                  <c:v>7</c:v>
                </c:pt>
                <c:pt idx="2">
                  <c:v>5</c:v>
                </c:pt>
                <c:pt idx="3">
                  <c:v>9</c:v>
                </c:pt>
                <c:pt idx="4">
                  <c:v>8</c:v>
                </c:pt>
                <c:pt idx="5">
                  <c:v>13</c:v>
                </c:pt>
                <c:pt idx="6">
                  <c:v>11</c:v>
                </c:pt>
                <c:pt idx="7">
                  <c:v>15</c:v>
                </c:pt>
                <c:pt idx="8">
                  <c:v>9</c:v>
                </c:pt>
                <c:pt idx="9">
                  <c:v>15</c:v>
                </c:pt>
                <c:pt idx="10">
                  <c:v>17</c:v>
                </c:pt>
                <c:pt idx="11">
                  <c:v>13</c:v>
                </c:pt>
                <c:pt idx="12">
                  <c:v>16</c:v>
                </c:pt>
                <c:pt idx="13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E2-4C02-B122-42B72C52A27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17</c:v>
                </c:pt>
                <c:pt idx="1">
                  <c:v>27</c:v>
                </c:pt>
                <c:pt idx="2">
                  <c:v>31</c:v>
                </c:pt>
                <c:pt idx="3">
                  <c:v>23</c:v>
                </c:pt>
                <c:pt idx="4">
                  <c:v>42</c:v>
                </c:pt>
                <c:pt idx="5">
                  <c:v>42</c:v>
                </c:pt>
                <c:pt idx="6">
                  <c:v>53</c:v>
                </c:pt>
                <c:pt idx="7">
                  <c:v>59</c:v>
                </c:pt>
                <c:pt idx="8">
                  <c:v>70</c:v>
                </c:pt>
                <c:pt idx="9">
                  <c:v>61</c:v>
                </c:pt>
                <c:pt idx="10">
                  <c:v>55</c:v>
                </c:pt>
                <c:pt idx="11">
                  <c:v>64</c:v>
                </c:pt>
                <c:pt idx="12">
                  <c:v>72</c:v>
                </c:pt>
                <c:pt idx="13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E2-4C02-B122-42B72C52A27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51</c:v>
                </c:pt>
                <c:pt idx="1">
                  <c:v>59</c:v>
                </c:pt>
                <c:pt idx="2">
                  <c:v>55</c:v>
                </c:pt>
                <c:pt idx="3">
                  <c:v>56</c:v>
                </c:pt>
                <c:pt idx="4">
                  <c:v>63</c:v>
                </c:pt>
                <c:pt idx="5">
                  <c:v>65</c:v>
                </c:pt>
                <c:pt idx="6">
                  <c:v>80</c:v>
                </c:pt>
                <c:pt idx="7">
                  <c:v>90</c:v>
                </c:pt>
                <c:pt idx="8">
                  <c:v>82</c:v>
                </c:pt>
                <c:pt idx="9">
                  <c:v>100</c:v>
                </c:pt>
                <c:pt idx="10">
                  <c:v>127</c:v>
                </c:pt>
                <c:pt idx="11">
                  <c:v>144</c:v>
                </c:pt>
                <c:pt idx="12">
                  <c:v>169</c:v>
                </c:pt>
                <c:pt idx="13">
                  <c:v>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CB9-49F4-90A6-39026A14BF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24E-4B89-AE38-E2D3279779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3</c:v>
                </c:pt>
                <c:pt idx="1">
                  <c:v>3</c:v>
                </c:pt>
                <c:pt idx="2">
                  <c:v>0</c:v>
                </c:pt>
                <c:pt idx="3">
                  <c:v>2</c:v>
                </c:pt>
                <c:pt idx="4">
                  <c:v>3</c:v>
                </c:pt>
                <c:pt idx="5">
                  <c:v>4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5</c:v>
                </c:pt>
                <c:pt idx="10">
                  <c:v>4</c:v>
                </c:pt>
                <c:pt idx="11">
                  <c:v>2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4E-4B89-AE38-E2D32797791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9</c:v>
                </c:pt>
                <c:pt idx="1">
                  <c:v>4</c:v>
                </c:pt>
                <c:pt idx="2">
                  <c:v>8</c:v>
                </c:pt>
                <c:pt idx="3">
                  <c:v>4</c:v>
                </c:pt>
                <c:pt idx="4">
                  <c:v>11</c:v>
                </c:pt>
                <c:pt idx="5">
                  <c:v>6</c:v>
                </c:pt>
                <c:pt idx="6">
                  <c:v>10</c:v>
                </c:pt>
                <c:pt idx="7">
                  <c:v>16</c:v>
                </c:pt>
                <c:pt idx="8">
                  <c:v>29</c:v>
                </c:pt>
                <c:pt idx="9">
                  <c:v>23</c:v>
                </c:pt>
                <c:pt idx="10">
                  <c:v>20</c:v>
                </c:pt>
                <c:pt idx="11">
                  <c:v>23</c:v>
                </c:pt>
                <c:pt idx="12">
                  <c:v>18</c:v>
                </c:pt>
                <c:pt idx="13">
                  <c:v>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24E-4B89-AE38-E2D32797791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35</c:v>
                </c:pt>
                <c:pt idx="1">
                  <c:v>36</c:v>
                </c:pt>
                <c:pt idx="2">
                  <c:v>34</c:v>
                </c:pt>
                <c:pt idx="3">
                  <c:v>35</c:v>
                </c:pt>
                <c:pt idx="4">
                  <c:v>47</c:v>
                </c:pt>
                <c:pt idx="5">
                  <c:v>56</c:v>
                </c:pt>
                <c:pt idx="6">
                  <c:v>57</c:v>
                </c:pt>
                <c:pt idx="7">
                  <c:v>44</c:v>
                </c:pt>
                <c:pt idx="8">
                  <c:v>61</c:v>
                </c:pt>
                <c:pt idx="9">
                  <c:v>82</c:v>
                </c:pt>
                <c:pt idx="10">
                  <c:v>104</c:v>
                </c:pt>
                <c:pt idx="11">
                  <c:v>135</c:v>
                </c:pt>
                <c:pt idx="12">
                  <c:v>198</c:v>
                </c:pt>
                <c:pt idx="13">
                  <c:v>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7B-41C4-8BE3-1E8C0CAF7C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92964713311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5</c:v>
                </c:pt>
                <c:pt idx="1">
                  <c:v>6</c:v>
                </c:pt>
                <c:pt idx="2">
                  <c:v>11</c:v>
                </c:pt>
                <c:pt idx="3">
                  <c:v>8</c:v>
                </c:pt>
                <c:pt idx="4">
                  <c:v>12</c:v>
                </c:pt>
                <c:pt idx="5">
                  <c:v>7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2</c:v>
                </c:pt>
                <c:pt idx="10">
                  <c:v>3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BEE-4CAD-8E37-74024D3C5A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15</c:v>
                </c:pt>
                <c:pt idx="1">
                  <c:v>14</c:v>
                </c:pt>
                <c:pt idx="2">
                  <c:v>15</c:v>
                </c:pt>
                <c:pt idx="3">
                  <c:v>14</c:v>
                </c:pt>
                <c:pt idx="4">
                  <c:v>14</c:v>
                </c:pt>
                <c:pt idx="5">
                  <c:v>16</c:v>
                </c:pt>
                <c:pt idx="6">
                  <c:v>11</c:v>
                </c:pt>
                <c:pt idx="7">
                  <c:v>12</c:v>
                </c:pt>
                <c:pt idx="8">
                  <c:v>8</c:v>
                </c:pt>
                <c:pt idx="9">
                  <c:v>10</c:v>
                </c:pt>
                <c:pt idx="10">
                  <c:v>13</c:v>
                </c:pt>
                <c:pt idx="11">
                  <c:v>6</c:v>
                </c:pt>
                <c:pt idx="12">
                  <c:v>9</c:v>
                </c:pt>
                <c:pt idx="1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EE-4CAD-8E37-74024D3C5A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4</c:v>
                </c:pt>
                <c:pt idx="1">
                  <c:v>31</c:v>
                </c:pt>
                <c:pt idx="2">
                  <c:v>41</c:v>
                </c:pt>
                <c:pt idx="3">
                  <c:v>39</c:v>
                </c:pt>
                <c:pt idx="4">
                  <c:v>42</c:v>
                </c:pt>
                <c:pt idx="5">
                  <c:v>48</c:v>
                </c:pt>
                <c:pt idx="6">
                  <c:v>46</c:v>
                </c:pt>
                <c:pt idx="7">
                  <c:v>55</c:v>
                </c:pt>
                <c:pt idx="8">
                  <c:v>71</c:v>
                </c:pt>
                <c:pt idx="9">
                  <c:v>65</c:v>
                </c:pt>
                <c:pt idx="10">
                  <c:v>77</c:v>
                </c:pt>
                <c:pt idx="11">
                  <c:v>115</c:v>
                </c:pt>
                <c:pt idx="12">
                  <c:v>105</c:v>
                </c:pt>
                <c:pt idx="13">
                  <c:v>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EE-4CAD-8E37-74024D3C5AF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197</c:v>
                </c:pt>
                <c:pt idx="1">
                  <c:v>182</c:v>
                </c:pt>
                <c:pt idx="2">
                  <c:v>164</c:v>
                </c:pt>
                <c:pt idx="3">
                  <c:v>159</c:v>
                </c:pt>
                <c:pt idx="4">
                  <c:v>176</c:v>
                </c:pt>
                <c:pt idx="5">
                  <c:v>172</c:v>
                </c:pt>
                <c:pt idx="6">
                  <c:v>177</c:v>
                </c:pt>
                <c:pt idx="7">
                  <c:v>177</c:v>
                </c:pt>
                <c:pt idx="8">
                  <c:v>185</c:v>
                </c:pt>
                <c:pt idx="9">
                  <c:v>224</c:v>
                </c:pt>
                <c:pt idx="10">
                  <c:v>188</c:v>
                </c:pt>
                <c:pt idx="11">
                  <c:v>281</c:v>
                </c:pt>
                <c:pt idx="12">
                  <c:v>321</c:v>
                </c:pt>
                <c:pt idx="13">
                  <c:v>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779-4525-B502-BBB3239790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15873107172338E-2"/>
          <c:y val="3.9247139343385737E-2"/>
          <c:w val="0.89141998119028387"/>
          <c:h val="0.652886590955273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0 – 4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33</c:v>
                </c:pt>
                <c:pt idx="1">
                  <c:v>48</c:v>
                </c:pt>
                <c:pt idx="2">
                  <c:v>73</c:v>
                </c:pt>
                <c:pt idx="3">
                  <c:v>60</c:v>
                </c:pt>
                <c:pt idx="4">
                  <c:v>46</c:v>
                </c:pt>
                <c:pt idx="5">
                  <c:v>49</c:v>
                </c:pt>
                <c:pt idx="6">
                  <c:v>49</c:v>
                </c:pt>
                <c:pt idx="7">
                  <c:v>72</c:v>
                </c:pt>
                <c:pt idx="8">
                  <c:v>87</c:v>
                </c:pt>
                <c:pt idx="9">
                  <c:v>98</c:v>
                </c:pt>
                <c:pt idx="10">
                  <c:v>87</c:v>
                </c:pt>
                <c:pt idx="11">
                  <c:v>87</c:v>
                </c:pt>
                <c:pt idx="12">
                  <c:v>89</c:v>
                </c:pt>
                <c:pt idx="13">
                  <c:v>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E76-4090-B1DE-4FD8A6E77D0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5 – 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83</c:v>
                </c:pt>
                <c:pt idx="1">
                  <c:v>100</c:v>
                </c:pt>
                <c:pt idx="2">
                  <c:v>125</c:v>
                </c:pt>
                <c:pt idx="3">
                  <c:v>197</c:v>
                </c:pt>
                <c:pt idx="4">
                  <c:v>210</c:v>
                </c:pt>
                <c:pt idx="5">
                  <c:v>210</c:v>
                </c:pt>
                <c:pt idx="6">
                  <c:v>217</c:v>
                </c:pt>
                <c:pt idx="7">
                  <c:v>253</c:v>
                </c:pt>
                <c:pt idx="8">
                  <c:v>228</c:v>
                </c:pt>
                <c:pt idx="9">
                  <c:v>270</c:v>
                </c:pt>
                <c:pt idx="10">
                  <c:v>277</c:v>
                </c:pt>
                <c:pt idx="11">
                  <c:v>282</c:v>
                </c:pt>
                <c:pt idx="12">
                  <c:v>277</c:v>
                </c:pt>
                <c:pt idx="13">
                  <c:v>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76-4090-B1DE-4FD8A6E77D0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10 – 1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94</c:v>
                </c:pt>
                <c:pt idx="1">
                  <c:v>104</c:v>
                </c:pt>
                <c:pt idx="2">
                  <c:v>128</c:v>
                </c:pt>
                <c:pt idx="3">
                  <c:v>126</c:v>
                </c:pt>
                <c:pt idx="4">
                  <c:v>150</c:v>
                </c:pt>
                <c:pt idx="5">
                  <c:v>175</c:v>
                </c:pt>
                <c:pt idx="6">
                  <c:v>189</c:v>
                </c:pt>
                <c:pt idx="7">
                  <c:v>225</c:v>
                </c:pt>
                <c:pt idx="8">
                  <c:v>271</c:v>
                </c:pt>
                <c:pt idx="9">
                  <c:v>283</c:v>
                </c:pt>
                <c:pt idx="10">
                  <c:v>273</c:v>
                </c:pt>
                <c:pt idx="11">
                  <c:v>273</c:v>
                </c:pt>
                <c:pt idx="12">
                  <c:v>315</c:v>
                </c:pt>
                <c:pt idx="13">
                  <c:v>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76-4090-B1DE-4FD8A6E77D0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15 – 19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57</c:v>
                </c:pt>
                <c:pt idx="1">
                  <c:v>55</c:v>
                </c:pt>
                <c:pt idx="2">
                  <c:v>81</c:v>
                </c:pt>
                <c:pt idx="3">
                  <c:v>98</c:v>
                </c:pt>
                <c:pt idx="4">
                  <c:v>102</c:v>
                </c:pt>
                <c:pt idx="5">
                  <c:v>123</c:v>
                </c:pt>
                <c:pt idx="6">
                  <c:v>137</c:v>
                </c:pt>
                <c:pt idx="7">
                  <c:v>143</c:v>
                </c:pt>
                <c:pt idx="8">
                  <c:v>145</c:v>
                </c:pt>
                <c:pt idx="9">
                  <c:v>179</c:v>
                </c:pt>
                <c:pt idx="10">
                  <c:v>206</c:v>
                </c:pt>
                <c:pt idx="11">
                  <c:v>230</c:v>
                </c:pt>
                <c:pt idx="12">
                  <c:v>270</c:v>
                </c:pt>
                <c:pt idx="13">
                  <c:v>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76-4090-B1DE-4FD8A6E77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838112"/>
        <c:axId val="450840464"/>
      </c:lineChart>
      <c:catAx>
        <c:axId val="450838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40464"/>
        <c:crosses val="autoZero"/>
        <c:auto val="1"/>
        <c:lblAlgn val="ctr"/>
        <c:lblOffset val="100"/>
        <c:noMultiLvlLbl val="0"/>
      </c:catAx>
      <c:valAx>
        <c:axId val="45084046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83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493520616735377"/>
          <c:y val="0.88671208776873589"/>
          <c:w val="0.86506479383264623"/>
          <c:h val="0.1132877143514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33A-4F2D-B7A3-6FBCA35899E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33A-4F2D-B7A3-6FBCA35899E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33A-4F2D-B7A3-6FBCA35899E8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33A-4F2D-B7A3-6FBCA35899E8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C33A-4F2D-B7A3-6FBCA35899E8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33A-4F2D-B7A3-6FBCA35899E8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C33A-4F2D-B7A3-6FBCA35899E8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33A-4F2D-B7A3-6FBCA35899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5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1</c:v>
                </c:pt>
                <c:pt idx="5">
                  <c:v>5</c:v>
                </c:pt>
                <c:pt idx="6">
                  <c:v>6</c:v>
                </c:pt>
                <c:pt idx="7">
                  <c:v>4</c:v>
                </c:pt>
                <c:pt idx="8">
                  <c:v>3</c:v>
                </c:pt>
                <c:pt idx="9" formatCode="General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33A-4F2D-B7A3-6FBCA35899E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C$2:$C$11</c:f>
              <c:numCache>
                <c:formatCode>0</c:formatCode>
                <c:ptCount val="10"/>
                <c:pt idx="0">
                  <c:v>25</c:v>
                </c:pt>
                <c:pt idx="1">
                  <c:v>17</c:v>
                </c:pt>
                <c:pt idx="2">
                  <c:v>30</c:v>
                </c:pt>
                <c:pt idx="3">
                  <c:v>25</c:v>
                </c:pt>
                <c:pt idx="4">
                  <c:v>26</c:v>
                </c:pt>
                <c:pt idx="5">
                  <c:v>30</c:v>
                </c:pt>
                <c:pt idx="6">
                  <c:v>32</c:v>
                </c:pt>
                <c:pt idx="7">
                  <c:v>42</c:v>
                </c:pt>
                <c:pt idx="8">
                  <c:v>38</c:v>
                </c:pt>
                <c:pt idx="9" formatCode="General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33A-4F2D-B7A3-6FBCA35899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39A-4F21-B6B4-918FF7907D74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39A-4F21-B6B4-918FF7907D74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39A-4F21-B6B4-918FF7907D74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39A-4F21-B6B4-918FF7907D74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439A-4F21-B6B4-918FF7907D74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439A-4F21-B6B4-918FF7907D74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439A-4F21-B6B4-918FF7907D74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439A-4F21-B6B4-918FF7907D74}"/>
              </c:ext>
            </c:extLst>
          </c:dPt>
          <c:dPt>
            <c:idx val="1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439A-4F21-B6B4-918FF7907D74}"/>
              </c:ext>
            </c:extLst>
          </c:dPt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General</c:formatCode>
                <c:ptCount val="10"/>
                <c:pt idx="0">
                  <c:v>30</c:v>
                </c:pt>
                <c:pt idx="1">
                  <c:v>19</c:v>
                </c:pt>
                <c:pt idx="2">
                  <c:v>34</c:v>
                </c:pt>
                <c:pt idx="3">
                  <c:v>30</c:v>
                </c:pt>
                <c:pt idx="4">
                  <c:v>27</c:v>
                </c:pt>
                <c:pt idx="5">
                  <c:v>35</c:v>
                </c:pt>
                <c:pt idx="6">
                  <c:v>38</c:v>
                </c:pt>
                <c:pt idx="7">
                  <c:v>46</c:v>
                </c:pt>
                <c:pt idx="8">
                  <c:v>41</c:v>
                </c:pt>
                <c:pt idx="9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39A-4F21-B6B4-918FF7907D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CE-4C38-BCAE-62AD60025E67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7CE-4C38-BCAE-62AD60025E67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7CE-4C38-BCAE-62AD60025E67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8DF2-41DC-8B9A-A041C3B3DBDE}"/>
              </c:ext>
            </c:extLst>
          </c:dPt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454</c:v>
                </c:pt>
                <c:pt idx="1">
                  <c:v>277</c:v>
                </c:pt>
                <c:pt idx="2">
                  <c:v>201</c:v>
                </c:pt>
                <c:pt idx="3">
                  <c:v>122</c:v>
                </c:pt>
                <c:pt idx="4">
                  <c:v>120</c:v>
                </c:pt>
                <c:pt idx="5">
                  <c:v>103</c:v>
                </c:pt>
                <c:pt idx="6">
                  <c:v>74</c:v>
                </c:pt>
                <c:pt idx="7">
                  <c:v>134</c:v>
                </c:pt>
                <c:pt idx="8">
                  <c:v>155</c:v>
                </c:pt>
                <c:pt idx="9" formatCode="General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7CE-4C38-BCAE-62AD60025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BB-455D-8A0B-B59E9956B44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BB-455D-8A0B-B59E9956B44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8BB-455D-8A0B-B59E9956B44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8BB-455D-8A0B-B59E9956B440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8BB-455D-8A0B-B59E9956B44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8BB-455D-8A0B-B59E9956B44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8BB-455D-8A0B-B59E9956B44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8BB-455D-8A0B-B59E9956B4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141</c:v>
                </c:pt>
                <c:pt idx="1">
                  <c:v>97</c:v>
                </c:pt>
                <c:pt idx="2">
                  <c:v>79</c:v>
                </c:pt>
                <c:pt idx="3">
                  <c:v>55</c:v>
                </c:pt>
                <c:pt idx="4">
                  <c:v>39</c:v>
                </c:pt>
                <c:pt idx="5">
                  <c:v>37</c:v>
                </c:pt>
                <c:pt idx="6">
                  <c:v>24</c:v>
                </c:pt>
                <c:pt idx="7">
                  <c:v>37</c:v>
                </c:pt>
                <c:pt idx="8">
                  <c:v>55</c:v>
                </c:pt>
                <c:pt idx="9" formatCode="General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BB-455D-8A0B-B59E9956B44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-74</c:v>
                </c:pt>
                <c:pt idx="9">
                  <c:v>75 a více</c:v>
                </c:pt>
              </c:strCache>
            </c:strRef>
          </c:cat>
          <c:val>
            <c:numRef>
              <c:f>List1!$C$2:$C$11</c:f>
              <c:numCache>
                <c:formatCode>0</c:formatCode>
                <c:ptCount val="10"/>
                <c:pt idx="0">
                  <c:v>313</c:v>
                </c:pt>
                <c:pt idx="1">
                  <c:v>180</c:v>
                </c:pt>
                <c:pt idx="2">
                  <c:v>122</c:v>
                </c:pt>
                <c:pt idx="3">
                  <c:v>67</c:v>
                </c:pt>
                <c:pt idx="4">
                  <c:v>81</c:v>
                </c:pt>
                <c:pt idx="5">
                  <c:v>66</c:v>
                </c:pt>
                <c:pt idx="6">
                  <c:v>50</c:v>
                </c:pt>
                <c:pt idx="7">
                  <c:v>97</c:v>
                </c:pt>
                <c:pt idx="8">
                  <c:v>100</c:v>
                </c:pt>
                <c:pt idx="9" formatCode="General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BB-455D-8A0B-B59E9956B4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CE-4C38-BCAE-62AD60025E67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7CE-4C38-BCAE-62AD60025E67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7CE-4C38-BCAE-62AD60025E67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825B-499E-A9A8-DA819C9BCE9D}"/>
              </c:ext>
            </c:extLst>
          </c:dPt>
          <c:cat>
            <c:strRef>
              <c:f>List1!$A$2:$A$11</c:f>
              <c:strCache>
                <c:ptCount val="10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  <c:pt idx="9">
                  <c:v>75 a více</c:v>
                </c:pt>
              </c:strCache>
            </c:strRef>
          </c:cat>
          <c:val>
            <c:numRef>
              <c:f>List1!$B$2:$B$11</c:f>
              <c:numCache>
                <c:formatCode>0</c:formatCode>
                <c:ptCount val="10"/>
                <c:pt idx="0">
                  <c:v>33</c:v>
                </c:pt>
                <c:pt idx="1">
                  <c:v>40</c:v>
                </c:pt>
                <c:pt idx="2">
                  <c:v>43</c:v>
                </c:pt>
                <c:pt idx="3">
                  <c:v>43</c:v>
                </c:pt>
                <c:pt idx="4">
                  <c:v>60</c:v>
                </c:pt>
                <c:pt idx="5">
                  <c:v>62</c:v>
                </c:pt>
                <c:pt idx="6">
                  <c:v>34</c:v>
                </c:pt>
                <c:pt idx="7">
                  <c:v>35</c:v>
                </c:pt>
                <c:pt idx="8">
                  <c:v>68</c:v>
                </c:pt>
                <c:pt idx="9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7CE-4C38-BCAE-62AD60025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677FF30F-9876-E589-BB71-928667D9ED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0F1123A-26F1-6112-AB2B-2E5F5D4D1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560238-FB28-41D6-A234-F34A73D773EE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AF5319F-1D27-1059-288D-8342283B2A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9D3F933-2357-303F-2CF2-AB25AF46140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B5DCD-479C-4AB3-97BF-5E624917ABF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88565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448A3F-F877-4C3C-A911-51F55369D9E8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17A491-A754-42F7-BC38-F4283EE3D6C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8024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84584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0240528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0AFE47-15C5-410B-93B7-C2AE9E709F7B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87992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7484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2024060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25447F-DF00-4630-9204-54C26BD929B3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8273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2024060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25447F-DF00-4630-9204-54C26BD929B3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7455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123041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51523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123041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59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6893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607JJ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7FAF74-7B26-4960-B3A2-9434BAEC7F0B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11288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607JJ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7FAF74-7B26-4960-B3A2-9434BAEC7F0B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288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607JJ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7FAF74-7B26-4960-B3A2-9434BAEC7F0B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71172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B090624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7FAF74-7B26-4960-B3A2-9434BAEC7F0B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5133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2024060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5447F-DF00-4630-9204-54C26BD929B3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8037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HZ2024060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5447F-DF00-4630-9204-54C26BD929B3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3094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52589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607JJ3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7FAF74-7B26-4960-B3A2-9434BAEC7F0B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53302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.png"/><Relationship Id="rId7" Type="http://schemas.openxmlformats.org/officeDocument/2006/relationships/image" Target="cid:image003.jpg@01CF6DFE.8D73A1C0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2.tif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3.png"/><Relationship Id="rId5" Type="http://schemas.openxmlformats.org/officeDocument/2006/relationships/image" Target="../media/image9.emf"/><Relationship Id="rId10" Type="http://schemas.openxmlformats.org/officeDocument/2006/relationships/image" Target="../media/image6.png"/><Relationship Id="rId4" Type="http://schemas.openxmlformats.org/officeDocument/2006/relationships/image" Target="../media/image8.emf"/><Relationship Id="rId9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emf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.png"/><Relationship Id="rId7" Type="http://schemas.openxmlformats.org/officeDocument/2006/relationships/image" Target="cid:image003.jpg@01CF6DFE.8D73A1C0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2.tiff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Městská část Praha 4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85137" y="4992722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631083A4-652D-1553-920E-7783D0472618}"/>
              </a:ext>
            </a:extLst>
          </p:cNvPr>
          <p:cNvGrpSpPr/>
          <p:nvPr userDrawn="1"/>
        </p:nvGrpSpPr>
        <p:grpSpPr>
          <a:xfrm>
            <a:off x="9381600" y="3790800"/>
            <a:ext cx="1270751" cy="2016807"/>
            <a:chOff x="9573906" y="3839890"/>
            <a:chExt cx="1270751" cy="2016807"/>
          </a:xfrm>
        </p:grpSpPr>
        <p:sp>
          <p:nvSpPr>
            <p:cNvPr id="50" name="Rovnoramenný trojúhelník 4">
              <a:extLst>
                <a:ext uri="{FF2B5EF4-FFF2-40B4-BE49-F238E27FC236}">
                  <a16:creationId xmlns:a16="http://schemas.microsoft.com/office/drawing/2014/main" id="{B83AB2B9-3079-2692-DC6E-D88430F6F6AE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51" name="Skupina 50">
              <a:extLst>
                <a:ext uri="{FF2B5EF4-FFF2-40B4-BE49-F238E27FC236}">
                  <a16:creationId xmlns:a16="http://schemas.microsoft.com/office/drawing/2014/main" id="{FE5FC520-ECD2-B6EE-E590-7008E91FC620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52" name="Ovál 22">
                <a:extLst>
                  <a:ext uri="{FF2B5EF4-FFF2-40B4-BE49-F238E27FC236}">
                    <a16:creationId xmlns:a16="http://schemas.microsoft.com/office/drawing/2014/main" id="{8709C7FE-25A8-FF08-CB6E-C4566900FADB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3" name="Ovál 23">
                <a:extLst>
                  <a:ext uri="{FF2B5EF4-FFF2-40B4-BE49-F238E27FC236}">
                    <a16:creationId xmlns:a16="http://schemas.microsoft.com/office/drawing/2014/main" id="{1AEE8359-FC5E-D1F6-C211-46C6B6ED6E80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sp>
        <p:nvSpPr>
          <p:cNvPr id="24" name="Volný tvar: obrazec 23">
            <a:extLst>
              <a:ext uri="{FF2B5EF4-FFF2-40B4-BE49-F238E27FC236}">
                <a16:creationId xmlns:a16="http://schemas.microsoft.com/office/drawing/2014/main" id="{2F6E1DCB-3D4A-17BE-B2C2-7EC4784FBF4A}"/>
              </a:ext>
            </a:extLst>
          </p:cNvPr>
          <p:cNvSpPr>
            <a:spLocks noChangeAspect="1"/>
          </p:cNvSpPr>
          <p:nvPr userDrawn="1"/>
        </p:nvSpPr>
        <p:spPr>
          <a:xfrm>
            <a:off x="9588549" y="5047944"/>
            <a:ext cx="615700" cy="489724"/>
          </a:xfrm>
          <a:custGeom>
            <a:avLst/>
            <a:gdLst>
              <a:gd name="connsiteX0" fmla="*/ 306896 w 335184"/>
              <a:gd name="connsiteY0" fmla="*/ 184880 h 266604"/>
              <a:gd name="connsiteX1" fmla="*/ 307372 w 335184"/>
              <a:gd name="connsiteY1" fmla="*/ 188023 h 266604"/>
              <a:gd name="connsiteX2" fmla="*/ 302609 w 335184"/>
              <a:gd name="connsiteY2" fmla="*/ 188595 h 266604"/>
              <a:gd name="connsiteX3" fmla="*/ 303371 w 335184"/>
              <a:gd name="connsiteY3" fmla="*/ 194881 h 266604"/>
              <a:gd name="connsiteX4" fmla="*/ 300609 w 335184"/>
              <a:gd name="connsiteY4" fmla="*/ 198501 h 266604"/>
              <a:gd name="connsiteX5" fmla="*/ 295084 w 335184"/>
              <a:gd name="connsiteY5" fmla="*/ 192786 h 266604"/>
              <a:gd name="connsiteX6" fmla="*/ 293751 w 335184"/>
              <a:gd name="connsiteY6" fmla="*/ 194500 h 266604"/>
              <a:gd name="connsiteX7" fmla="*/ 292703 w 335184"/>
              <a:gd name="connsiteY7" fmla="*/ 199453 h 266604"/>
              <a:gd name="connsiteX8" fmla="*/ 290798 w 335184"/>
              <a:gd name="connsiteY8" fmla="*/ 196501 h 266604"/>
              <a:gd name="connsiteX9" fmla="*/ 289179 w 335184"/>
              <a:gd name="connsiteY9" fmla="*/ 196691 h 266604"/>
              <a:gd name="connsiteX10" fmla="*/ 293370 w 335184"/>
              <a:gd name="connsiteY10" fmla="*/ 204216 h 266604"/>
              <a:gd name="connsiteX11" fmla="*/ 289179 w 335184"/>
              <a:gd name="connsiteY11" fmla="*/ 209550 h 266604"/>
              <a:gd name="connsiteX12" fmla="*/ 284131 w 335184"/>
              <a:gd name="connsiteY12" fmla="*/ 206978 h 266604"/>
              <a:gd name="connsiteX13" fmla="*/ 279368 w 335184"/>
              <a:gd name="connsiteY13" fmla="*/ 207550 h 266604"/>
              <a:gd name="connsiteX14" fmla="*/ 274225 w 335184"/>
              <a:gd name="connsiteY14" fmla="*/ 205073 h 266604"/>
              <a:gd name="connsiteX15" fmla="*/ 274415 w 335184"/>
              <a:gd name="connsiteY15" fmla="*/ 206597 h 266604"/>
              <a:gd name="connsiteX16" fmla="*/ 272605 w 335184"/>
              <a:gd name="connsiteY16" fmla="*/ 205264 h 266604"/>
              <a:gd name="connsiteX17" fmla="*/ 271272 w 335184"/>
              <a:gd name="connsiteY17" fmla="*/ 206978 h 266604"/>
              <a:gd name="connsiteX18" fmla="*/ 269081 w 335184"/>
              <a:gd name="connsiteY18" fmla="*/ 202501 h 266604"/>
              <a:gd name="connsiteX19" fmla="*/ 269462 w 335184"/>
              <a:gd name="connsiteY19" fmla="*/ 205645 h 266604"/>
              <a:gd name="connsiteX20" fmla="*/ 265938 w 335184"/>
              <a:gd name="connsiteY20" fmla="*/ 202882 h 266604"/>
              <a:gd name="connsiteX21" fmla="*/ 265557 w 335184"/>
              <a:gd name="connsiteY21" fmla="*/ 199739 h 266604"/>
              <a:gd name="connsiteX22" fmla="*/ 264128 w 335184"/>
              <a:gd name="connsiteY22" fmla="*/ 201549 h 266604"/>
              <a:gd name="connsiteX23" fmla="*/ 261366 w 335184"/>
              <a:gd name="connsiteY23" fmla="*/ 192214 h 266604"/>
              <a:gd name="connsiteX24" fmla="*/ 256794 w 335184"/>
              <a:gd name="connsiteY24" fmla="*/ 194405 h 266604"/>
              <a:gd name="connsiteX25" fmla="*/ 256604 w 335184"/>
              <a:gd name="connsiteY25" fmla="*/ 192881 h 266604"/>
              <a:gd name="connsiteX26" fmla="*/ 254889 w 335184"/>
              <a:gd name="connsiteY26" fmla="*/ 191452 h 266604"/>
              <a:gd name="connsiteX27" fmla="*/ 251936 w 335184"/>
              <a:gd name="connsiteY27" fmla="*/ 193453 h 266604"/>
              <a:gd name="connsiteX28" fmla="*/ 251460 w 335184"/>
              <a:gd name="connsiteY28" fmla="*/ 190309 h 266604"/>
              <a:gd name="connsiteX29" fmla="*/ 251270 w 335184"/>
              <a:gd name="connsiteY29" fmla="*/ 188690 h 266604"/>
              <a:gd name="connsiteX30" fmla="*/ 248317 w 335184"/>
              <a:gd name="connsiteY30" fmla="*/ 190690 h 266604"/>
              <a:gd name="connsiteX31" fmla="*/ 249079 w 335184"/>
              <a:gd name="connsiteY31" fmla="*/ 184213 h 266604"/>
              <a:gd name="connsiteX32" fmla="*/ 244602 w 335184"/>
              <a:gd name="connsiteY32" fmla="*/ 186404 h 266604"/>
              <a:gd name="connsiteX33" fmla="*/ 243364 w 335184"/>
              <a:gd name="connsiteY33" fmla="*/ 189738 h 266604"/>
              <a:gd name="connsiteX34" fmla="*/ 243364 w 335184"/>
              <a:gd name="connsiteY34" fmla="*/ 189738 h 266604"/>
              <a:gd name="connsiteX35" fmla="*/ 240411 w 335184"/>
              <a:gd name="connsiteY35" fmla="*/ 191738 h 266604"/>
              <a:gd name="connsiteX36" fmla="*/ 237458 w 335184"/>
              <a:gd name="connsiteY36" fmla="*/ 193643 h 266604"/>
              <a:gd name="connsiteX37" fmla="*/ 238887 w 335184"/>
              <a:gd name="connsiteY37" fmla="*/ 191929 h 266604"/>
              <a:gd name="connsiteX38" fmla="*/ 235744 w 335184"/>
              <a:gd name="connsiteY38" fmla="*/ 192310 h 266604"/>
              <a:gd name="connsiteX39" fmla="*/ 235267 w 335184"/>
              <a:gd name="connsiteY39" fmla="*/ 189166 h 266604"/>
              <a:gd name="connsiteX40" fmla="*/ 233744 w 335184"/>
              <a:gd name="connsiteY40" fmla="*/ 189357 h 266604"/>
              <a:gd name="connsiteX41" fmla="*/ 228791 w 335184"/>
              <a:gd name="connsiteY41" fmla="*/ 188404 h 266604"/>
              <a:gd name="connsiteX42" fmla="*/ 228981 w 335184"/>
              <a:gd name="connsiteY42" fmla="*/ 189928 h 266604"/>
              <a:gd name="connsiteX43" fmla="*/ 226219 w 335184"/>
              <a:gd name="connsiteY43" fmla="*/ 193548 h 266604"/>
              <a:gd name="connsiteX44" fmla="*/ 221551 w 335184"/>
              <a:gd name="connsiteY44" fmla="*/ 194119 h 266604"/>
              <a:gd name="connsiteX45" fmla="*/ 214408 w 335184"/>
              <a:gd name="connsiteY45" fmla="*/ 188595 h 266604"/>
              <a:gd name="connsiteX46" fmla="*/ 211455 w 335184"/>
              <a:gd name="connsiteY46" fmla="*/ 190595 h 266604"/>
              <a:gd name="connsiteX47" fmla="*/ 205359 w 335184"/>
              <a:gd name="connsiteY47" fmla="*/ 192976 h 266604"/>
              <a:gd name="connsiteX48" fmla="*/ 211265 w 335184"/>
              <a:gd name="connsiteY48" fmla="*/ 201835 h 266604"/>
              <a:gd name="connsiteX49" fmla="*/ 203740 w 335184"/>
              <a:gd name="connsiteY49" fmla="*/ 206026 h 266604"/>
              <a:gd name="connsiteX50" fmla="*/ 204216 w 335184"/>
              <a:gd name="connsiteY50" fmla="*/ 209169 h 266604"/>
              <a:gd name="connsiteX51" fmla="*/ 202406 w 335184"/>
              <a:gd name="connsiteY51" fmla="*/ 207740 h 266604"/>
              <a:gd name="connsiteX52" fmla="*/ 200978 w 335184"/>
              <a:gd name="connsiteY52" fmla="*/ 209550 h 266604"/>
              <a:gd name="connsiteX53" fmla="*/ 199644 w 335184"/>
              <a:gd name="connsiteY53" fmla="*/ 211360 h 266604"/>
              <a:gd name="connsiteX54" fmla="*/ 196501 w 335184"/>
              <a:gd name="connsiteY54" fmla="*/ 211741 h 266604"/>
              <a:gd name="connsiteX55" fmla="*/ 195644 w 335184"/>
              <a:gd name="connsiteY55" fmla="*/ 205454 h 266604"/>
              <a:gd name="connsiteX56" fmla="*/ 180308 w 335184"/>
              <a:gd name="connsiteY56" fmla="*/ 210598 h 266604"/>
              <a:gd name="connsiteX57" fmla="*/ 181070 w 335184"/>
              <a:gd name="connsiteY57" fmla="*/ 216884 h 266604"/>
              <a:gd name="connsiteX58" fmla="*/ 182690 w 335184"/>
              <a:gd name="connsiteY58" fmla="*/ 216694 h 266604"/>
              <a:gd name="connsiteX59" fmla="*/ 182880 w 335184"/>
              <a:gd name="connsiteY59" fmla="*/ 218313 h 266604"/>
              <a:gd name="connsiteX60" fmla="*/ 171831 w 335184"/>
              <a:gd name="connsiteY60" fmla="*/ 219646 h 266604"/>
              <a:gd name="connsiteX61" fmla="*/ 172403 w 335184"/>
              <a:gd name="connsiteY61" fmla="*/ 224409 h 266604"/>
              <a:gd name="connsiteX62" fmla="*/ 167354 w 335184"/>
              <a:gd name="connsiteY62" fmla="*/ 221837 h 266604"/>
              <a:gd name="connsiteX63" fmla="*/ 166973 w 335184"/>
              <a:gd name="connsiteY63" fmla="*/ 231553 h 266604"/>
              <a:gd name="connsiteX64" fmla="*/ 164211 w 335184"/>
              <a:gd name="connsiteY64" fmla="*/ 235077 h 266604"/>
              <a:gd name="connsiteX65" fmla="*/ 159258 w 335184"/>
              <a:gd name="connsiteY65" fmla="*/ 234125 h 266604"/>
              <a:gd name="connsiteX66" fmla="*/ 155924 w 335184"/>
              <a:gd name="connsiteY66" fmla="*/ 232981 h 266604"/>
              <a:gd name="connsiteX67" fmla="*/ 152495 w 335184"/>
              <a:gd name="connsiteY67" fmla="*/ 231743 h 266604"/>
              <a:gd name="connsiteX68" fmla="*/ 148400 w 335184"/>
              <a:gd name="connsiteY68" fmla="*/ 237077 h 266604"/>
              <a:gd name="connsiteX69" fmla="*/ 137732 w 335184"/>
              <a:gd name="connsiteY69" fmla="*/ 241649 h 266604"/>
              <a:gd name="connsiteX70" fmla="*/ 133064 w 335184"/>
              <a:gd name="connsiteY70" fmla="*/ 242316 h 266604"/>
              <a:gd name="connsiteX71" fmla="*/ 122111 w 335184"/>
              <a:gd name="connsiteY71" fmla="*/ 232410 h 266604"/>
              <a:gd name="connsiteX72" fmla="*/ 120777 w 335184"/>
              <a:gd name="connsiteY72" fmla="*/ 234220 h 266604"/>
              <a:gd name="connsiteX73" fmla="*/ 116872 w 335184"/>
              <a:gd name="connsiteY73" fmla="*/ 253937 h 266604"/>
              <a:gd name="connsiteX74" fmla="*/ 117634 w 335184"/>
              <a:gd name="connsiteY74" fmla="*/ 260223 h 266604"/>
              <a:gd name="connsiteX75" fmla="*/ 118110 w 335184"/>
              <a:gd name="connsiteY75" fmla="*/ 263462 h 266604"/>
              <a:gd name="connsiteX76" fmla="*/ 118491 w 335184"/>
              <a:gd name="connsiteY76" fmla="*/ 266605 h 266604"/>
              <a:gd name="connsiteX77" fmla="*/ 115157 w 335184"/>
              <a:gd name="connsiteY77" fmla="*/ 265367 h 266604"/>
              <a:gd name="connsiteX78" fmla="*/ 112776 w 335184"/>
              <a:gd name="connsiteY78" fmla="*/ 259271 h 266604"/>
              <a:gd name="connsiteX79" fmla="*/ 107823 w 335184"/>
              <a:gd name="connsiteY79" fmla="*/ 258318 h 266604"/>
              <a:gd name="connsiteX80" fmla="*/ 101917 w 335184"/>
              <a:gd name="connsiteY80" fmla="*/ 262318 h 266604"/>
              <a:gd name="connsiteX81" fmla="*/ 101727 w 335184"/>
              <a:gd name="connsiteY81" fmla="*/ 260699 h 266604"/>
              <a:gd name="connsiteX82" fmla="*/ 101251 w 335184"/>
              <a:gd name="connsiteY82" fmla="*/ 257556 h 266604"/>
              <a:gd name="connsiteX83" fmla="*/ 97917 w 335184"/>
              <a:gd name="connsiteY83" fmla="*/ 256413 h 266604"/>
              <a:gd name="connsiteX84" fmla="*/ 92012 w 335184"/>
              <a:gd name="connsiteY84" fmla="*/ 260318 h 266604"/>
              <a:gd name="connsiteX85" fmla="*/ 91821 w 335184"/>
              <a:gd name="connsiteY85" fmla="*/ 258794 h 266604"/>
              <a:gd name="connsiteX86" fmla="*/ 77438 w 335184"/>
              <a:gd name="connsiteY86" fmla="*/ 258985 h 266604"/>
              <a:gd name="connsiteX87" fmla="*/ 75247 w 335184"/>
              <a:gd name="connsiteY87" fmla="*/ 254413 h 266604"/>
              <a:gd name="connsiteX88" fmla="*/ 69913 w 335184"/>
              <a:gd name="connsiteY88" fmla="*/ 250317 h 266604"/>
              <a:gd name="connsiteX89" fmla="*/ 67913 w 335184"/>
              <a:gd name="connsiteY89" fmla="*/ 247364 h 266604"/>
              <a:gd name="connsiteX90" fmla="*/ 71628 w 335184"/>
              <a:gd name="connsiteY90" fmla="*/ 238887 h 266604"/>
              <a:gd name="connsiteX91" fmla="*/ 74581 w 335184"/>
              <a:gd name="connsiteY91" fmla="*/ 236887 h 266604"/>
              <a:gd name="connsiteX92" fmla="*/ 79724 w 335184"/>
              <a:gd name="connsiteY92" fmla="*/ 239459 h 266604"/>
              <a:gd name="connsiteX93" fmla="*/ 83629 w 335184"/>
              <a:gd name="connsiteY93" fmla="*/ 232505 h 266604"/>
              <a:gd name="connsiteX94" fmla="*/ 83439 w 335184"/>
              <a:gd name="connsiteY94" fmla="*/ 230981 h 266604"/>
              <a:gd name="connsiteX95" fmla="*/ 81725 w 335184"/>
              <a:gd name="connsiteY95" fmla="*/ 229552 h 266604"/>
              <a:gd name="connsiteX96" fmla="*/ 72390 w 335184"/>
              <a:gd name="connsiteY96" fmla="*/ 232315 h 266604"/>
              <a:gd name="connsiteX97" fmla="*/ 70866 w 335184"/>
              <a:gd name="connsiteY97" fmla="*/ 232600 h 266604"/>
              <a:gd name="connsiteX98" fmla="*/ 70675 w 335184"/>
              <a:gd name="connsiteY98" fmla="*/ 230981 h 266604"/>
              <a:gd name="connsiteX99" fmla="*/ 79153 w 335184"/>
              <a:gd name="connsiteY99" fmla="*/ 221837 h 266604"/>
              <a:gd name="connsiteX100" fmla="*/ 78486 w 335184"/>
              <a:gd name="connsiteY100" fmla="*/ 217170 h 266604"/>
              <a:gd name="connsiteX101" fmla="*/ 74962 w 335184"/>
              <a:gd name="connsiteY101" fmla="*/ 214408 h 266604"/>
              <a:gd name="connsiteX102" fmla="*/ 81058 w 335184"/>
              <a:gd name="connsiteY102" fmla="*/ 212026 h 266604"/>
              <a:gd name="connsiteX103" fmla="*/ 75724 w 335184"/>
              <a:gd name="connsiteY103" fmla="*/ 207836 h 266604"/>
              <a:gd name="connsiteX104" fmla="*/ 74104 w 335184"/>
              <a:gd name="connsiteY104" fmla="*/ 208121 h 266604"/>
              <a:gd name="connsiteX105" fmla="*/ 63532 w 335184"/>
              <a:gd name="connsiteY105" fmla="*/ 212693 h 266604"/>
              <a:gd name="connsiteX106" fmla="*/ 61150 w 335184"/>
              <a:gd name="connsiteY106" fmla="*/ 206502 h 266604"/>
              <a:gd name="connsiteX107" fmla="*/ 57912 w 335184"/>
              <a:gd name="connsiteY107" fmla="*/ 206978 h 266604"/>
              <a:gd name="connsiteX108" fmla="*/ 56007 w 335184"/>
              <a:gd name="connsiteY108" fmla="*/ 204025 h 266604"/>
              <a:gd name="connsiteX109" fmla="*/ 52578 w 335184"/>
              <a:gd name="connsiteY109" fmla="*/ 202787 h 266604"/>
              <a:gd name="connsiteX110" fmla="*/ 52388 w 335184"/>
              <a:gd name="connsiteY110" fmla="*/ 201263 h 266604"/>
              <a:gd name="connsiteX111" fmla="*/ 48673 w 335184"/>
              <a:gd name="connsiteY111" fmla="*/ 196882 h 266604"/>
              <a:gd name="connsiteX112" fmla="*/ 51625 w 335184"/>
              <a:gd name="connsiteY112" fmla="*/ 194881 h 266604"/>
              <a:gd name="connsiteX113" fmla="*/ 52007 w 335184"/>
              <a:gd name="connsiteY113" fmla="*/ 185261 h 266604"/>
              <a:gd name="connsiteX114" fmla="*/ 59055 w 335184"/>
              <a:gd name="connsiteY114" fmla="*/ 190786 h 266604"/>
              <a:gd name="connsiteX115" fmla="*/ 63437 w 335184"/>
              <a:gd name="connsiteY115" fmla="*/ 174212 h 266604"/>
              <a:gd name="connsiteX116" fmla="*/ 63246 w 335184"/>
              <a:gd name="connsiteY116" fmla="*/ 172593 h 266604"/>
              <a:gd name="connsiteX117" fmla="*/ 50387 w 335184"/>
              <a:gd name="connsiteY117" fmla="*/ 172593 h 266604"/>
              <a:gd name="connsiteX118" fmla="*/ 43244 w 335184"/>
              <a:gd name="connsiteY118" fmla="*/ 167068 h 266604"/>
              <a:gd name="connsiteX119" fmla="*/ 39719 w 335184"/>
              <a:gd name="connsiteY119" fmla="*/ 164401 h 266604"/>
              <a:gd name="connsiteX120" fmla="*/ 30194 w 335184"/>
              <a:gd name="connsiteY120" fmla="*/ 152781 h 266604"/>
              <a:gd name="connsiteX121" fmla="*/ 30004 w 335184"/>
              <a:gd name="connsiteY121" fmla="*/ 151162 h 266604"/>
              <a:gd name="connsiteX122" fmla="*/ 30766 w 335184"/>
              <a:gd name="connsiteY122" fmla="*/ 144685 h 266604"/>
              <a:gd name="connsiteX123" fmla="*/ 29242 w 335184"/>
              <a:gd name="connsiteY123" fmla="*/ 144875 h 266604"/>
              <a:gd name="connsiteX124" fmla="*/ 31909 w 335184"/>
              <a:gd name="connsiteY124" fmla="*/ 141256 h 266604"/>
              <a:gd name="connsiteX125" fmla="*/ 31528 w 335184"/>
              <a:gd name="connsiteY125" fmla="*/ 138113 h 266604"/>
              <a:gd name="connsiteX126" fmla="*/ 26765 w 335184"/>
              <a:gd name="connsiteY126" fmla="*/ 138779 h 266604"/>
              <a:gd name="connsiteX127" fmla="*/ 26384 w 335184"/>
              <a:gd name="connsiteY127" fmla="*/ 135541 h 266604"/>
              <a:gd name="connsiteX128" fmla="*/ 23241 w 335184"/>
              <a:gd name="connsiteY128" fmla="*/ 136017 h 266604"/>
              <a:gd name="connsiteX129" fmla="*/ 21241 w 335184"/>
              <a:gd name="connsiteY129" fmla="*/ 133064 h 266604"/>
              <a:gd name="connsiteX130" fmla="*/ 16383 w 335184"/>
              <a:gd name="connsiteY130" fmla="*/ 132016 h 266604"/>
              <a:gd name="connsiteX131" fmla="*/ 15716 w 335184"/>
              <a:gd name="connsiteY131" fmla="*/ 127349 h 266604"/>
              <a:gd name="connsiteX132" fmla="*/ 18859 w 335184"/>
              <a:gd name="connsiteY132" fmla="*/ 126873 h 266604"/>
              <a:gd name="connsiteX133" fmla="*/ 23432 w 335184"/>
              <a:gd name="connsiteY133" fmla="*/ 124777 h 266604"/>
              <a:gd name="connsiteX134" fmla="*/ 22384 w 335184"/>
              <a:gd name="connsiteY134" fmla="*/ 116872 h 266604"/>
              <a:gd name="connsiteX135" fmla="*/ 33433 w 335184"/>
              <a:gd name="connsiteY135" fmla="*/ 115443 h 266604"/>
              <a:gd name="connsiteX136" fmla="*/ 37052 w 335184"/>
              <a:gd name="connsiteY136" fmla="*/ 118205 h 266604"/>
              <a:gd name="connsiteX137" fmla="*/ 38195 w 335184"/>
              <a:gd name="connsiteY137" fmla="*/ 114871 h 266604"/>
              <a:gd name="connsiteX138" fmla="*/ 44672 w 335184"/>
              <a:gd name="connsiteY138" fmla="*/ 115633 h 266604"/>
              <a:gd name="connsiteX139" fmla="*/ 44482 w 335184"/>
              <a:gd name="connsiteY139" fmla="*/ 114014 h 266604"/>
              <a:gd name="connsiteX140" fmla="*/ 44291 w 335184"/>
              <a:gd name="connsiteY140" fmla="*/ 112490 h 266604"/>
              <a:gd name="connsiteX141" fmla="*/ 44101 w 335184"/>
              <a:gd name="connsiteY141" fmla="*/ 110871 h 266604"/>
              <a:gd name="connsiteX142" fmla="*/ 40767 w 335184"/>
              <a:gd name="connsiteY142" fmla="*/ 109728 h 266604"/>
              <a:gd name="connsiteX143" fmla="*/ 41910 w 335184"/>
              <a:gd name="connsiteY143" fmla="*/ 106299 h 266604"/>
              <a:gd name="connsiteX144" fmla="*/ 34004 w 335184"/>
              <a:gd name="connsiteY144" fmla="*/ 107347 h 266604"/>
              <a:gd name="connsiteX145" fmla="*/ 33052 w 335184"/>
              <a:gd name="connsiteY145" fmla="*/ 99441 h 266604"/>
              <a:gd name="connsiteX146" fmla="*/ 30099 w 335184"/>
              <a:gd name="connsiteY146" fmla="*/ 101441 h 266604"/>
              <a:gd name="connsiteX147" fmla="*/ 24955 w 335184"/>
              <a:gd name="connsiteY147" fmla="*/ 98869 h 266604"/>
              <a:gd name="connsiteX148" fmla="*/ 23717 w 335184"/>
              <a:gd name="connsiteY148" fmla="*/ 89440 h 266604"/>
              <a:gd name="connsiteX149" fmla="*/ 20193 w 335184"/>
              <a:gd name="connsiteY149" fmla="*/ 86677 h 266604"/>
              <a:gd name="connsiteX150" fmla="*/ 23146 w 335184"/>
              <a:gd name="connsiteY150" fmla="*/ 84677 h 266604"/>
              <a:gd name="connsiteX151" fmla="*/ 19145 w 335184"/>
              <a:gd name="connsiteY151" fmla="*/ 78772 h 266604"/>
              <a:gd name="connsiteX152" fmla="*/ 13049 w 335184"/>
              <a:gd name="connsiteY152" fmla="*/ 81153 h 266604"/>
              <a:gd name="connsiteX153" fmla="*/ 8572 w 335184"/>
              <a:gd name="connsiteY153" fmla="*/ 83344 h 266604"/>
              <a:gd name="connsiteX154" fmla="*/ 4953 w 335184"/>
              <a:gd name="connsiteY154" fmla="*/ 80581 h 266604"/>
              <a:gd name="connsiteX155" fmla="*/ 667 w 335184"/>
              <a:gd name="connsiteY155" fmla="*/ 84296 h 266604"/>
              <a:gd name="connsiteX156" fmla="*/ 191 w 335184"/>
              <a:gd name="connsiteY156" fmla="*/ 81153 h 266604"/>
              <a:gd name="connsiteX157" fmla="*/ 0 w 335184"/>
              <a:gd name="connsiteY157" fmla="*/ 79629 h 266604"/>
              <a:gd name="connsiteX158" fmla="*/ 9334 w 335184"/>
              <a:gd name="connsiteY158" fmla="*/ 76771 h 266604"/>
              <a:gd name="connsiteX159" fmla="*/ 8668 w 335184"/>
              <a:gd name="connsiteY159" fmla="*/ 72104 h 266604"/>
              <a:gd name="connsiteX160" fmla="*/ 10096 w 335184"/>
              <a:gd name="connsiteY160" fmla="*/ 70294 h 266604"/>
              <a:gd name="connsiteX161" fmla="*/ 11811 w 335184"/>
              <a:gd name="connsiteY161" fmla="*/ 71723 h 266604"/>
              <a:gd name="connsiteX162" fmla="*/ 13621 w 335184"/>
              <a:gd name="connsiteY162" fmla="*/ 73057 h 266604"/>
              <a:gd name="connsiteX163" fmla="*/ 21336 w 335184"/>
              <a:gd name="connsiteY163" fmla="*/ 70485 h 266604"/>
              <a:gd name="connsiteX164" fmla="*/ 21146 w 335184"/>
              <a:gd name="connsiteY164" fmla="*/ 68866 h 266604"/>
              <a:gd name="connsiteX165" fmla="*/ 22479 w 335184"/>
              <a:gd name="connsiteY165" fmla="*/ 67151 h 266604"/>
              <a:gd name="connsiteX166" fmla="*/ 22670 w 335184"/>
              <a:gd name="connsiteY166" fmla="*/ 68675 h 266604"/>
              <a:gd name="connsiteX167" fmla="*/ 31813 w 335184"/>
              <a:gd name="connsiteY167" fmla="*/ 64294 h 266604"/>
              <a:gd name="connsiteX168" fmla="*/ 37909 w 335184"/>
              <a:gd name="connsiteY168" fmla="*/ 61913 h 266604"/>
              <a:gd name="connsiteX169" fmla="*/ 41815 w 335184"/>
              <a:gd name="connsiteY169" fmla="*/ 67818 h 266604"/>
              <a:gd name="connsiteX170" fmla="*/ 43244 w 335184"/>
              <a:gd name="connsiteY170" fmla="*/ 66103 h 266604"/>
              <a:gd name="connsiteX171" fmla="*/ 50483 w 335184"/>
              <a:gd name="connsiteY171" fmla="*/ 60388 h 266604"/>
              <a:gd name="connsiteX172" fmla="*/ 48292 w 335184"/>
              <a:gd name="connsiteY172" fmla="*/ 55816 h 266604"/>
              <a:gd name="connsiteX173" fmla="*/ 52864 w 335184"/>
              <a:gd name="connsiteY173" fmla="*/ 53626 h 266604"/>
              <a:gd name="connsiteX174" fmla="*/ 52483 w 335184"/>
              <a:gd name="connsiteY174" fmla="*/ 50482 h 266604"/>
              <a:gd name="connsiteX175" fmla="*/ 57436 w 335184"/>
              <a:gd name="connsiteY175" fmla="*/ 51435 h 266604"/>
              <a:gd name="connsiteX176" fmla="*/ 59150 w 335184"/>
              <a:gd name="connsiteY176" fmla="*/ 52864 h 266604"/>
              <a:gd name="connsiteX177" fmla="*/ 62294 w 335184"/>
              <a:gd name="connsiteY177" fmla="*/ 52388 h 266604"/>
              <a:gd name="connsiteX178" fmla="*/ 62960 w 335184"/>
              <a:gd name="connsiteY178" fmla="*/ 57150 h 266604"/>
              <a:gd name="connsiteX179" fmla="*/ 65342 w 335184"/>
              <a:gd name="connsiteY179" fmla="*/ 63246 h 266604"/>
              <a:gd name="connsiteX180" fmla="*/ 65913 w 335184"/>
              <a:gd name="connsiteY180" fmla="*/ 68008 h 266604"/>
              <a:gd name="connsiteX181" fmla="*/ 72009 w 335184"/>
              <a:gd name="connsiteY181" fmla="*/ 65627 h 266604"/>
              <a:gd name="connsiteX182" fmla="*/ 90011 w 335184"/>
              <a:gd name="connsiteY182" fmla="*/ 68104 h 266604"/>
              <a:gd name="connsiteX183" fmla="*/ 94679 w 335184"/>
              <a:gd name="connsiteY183" fmla="*/ 67532 h 266604"/>
              <a:gd name="connsiteX184" fmla="*/ 90392 w 335184"/>
              <a:gd name="connsiteY184" fmla="*/ 58483 h 266604"/>
              <a:gd name="connsiteX185" fmla="*/ 92678 w 335184"/>
              <a:gd name="connsiteY185" fmla="*/ 51721 h 266604"/>
              <a:gd name="connsiteX186" fmla="*/ 91154 w 335184"/>
              <a:gd name="connsiteY186" fmla="*/ 51911 h 266604"/>
              <a:gd name="connsiteX187" fmla="*/ 90964 w 335184"/>
              <a:gd name="connsiteY187" fmla="*/ 50387 h 266604"/>
              <a:gd name="connsiteX188" fmla="*/ 90107 w 335184"/>
              <a:gd name="connsiteY188" fmla="*/ 44101 h 266604"/>
              <a:gd name="connsiteX189" fmla="*/ 91535 w 335184"/>
              <a:gd name="connsiteY189" fmla="*/ 42291 h 266604"/>
              <a:gd name="connsiteX190" fmla="*/ 91059 w 335184"/>
              <a:gd name="connsiteY190" fmla="*/ 39148 h 266604"/>
              <a:gd name="connsiteX191" fmla="*/ 96393 w 335184"/>
              <a:gd name="connsiteY191" fmla="*/ 30480 h 266604"/>
              <a:gd name="connsiteX192" fmla="*/ 102965 w 335184"/>
              <a:gd name="connsiteY192" fmla="*/ 31242 h 266604"/>
              <a:gd name="connsiteX193" fmla="*/ 108013 w 335184"/>
              <a:gd name="connsiteY193" fmla="*/ 33814 h 266604"/>
              <a:gd name="connsiteX194" fmla="*/ 111252 w 335184"/>
              <a:gd name="connsiteY194" fmla="*/ 33338 h 266604"/>
              <a:gd name="connsiteX195" fmla="*/ 116776 w 335184"/>
              <a:gd name="connsiteY195" fmla="*/ 39052 h 266604"/>
              <a:gd name="connsiteX196" fmla="*/ 121253 w 335184"/>
              <a:gd name="connsiteY196" fmla="*/ 36862 h 266604"/>
              <a:gd name="connsiteX197" fmla="*/ 122301 w 335184"/>
              <a:gd name="connsiteY197" fmla="*/ 32004 h 266604"/>
              <a:gd name="connsiteX198" fmla="*/ 125635 w 335184"/>
              <a:gd name="connsiteY198" fmla="*/ 33147 h 266604"/>
              <a:gd name="connsiteX199" fmla="*/ 136493 w 335184"/>
              <a:gd name="connsiteY199" fmla="*/ 30194 h 266604"/>
              <a:gd name="connsiteX200" fmla="*/ 136493 w 335184"/>
              <a:gd name="connsiteY200" fmla="*/ 30194 h 266604"/>
              <a:gd name="connsiteX201" fmla="*/ 135826 w 335184"/>
              <a:gd name="connsiteY201" fmla="*/ 25432 h 266604"/>
              <a:gd name="connsiteX202" fmla="*/ 140779 w 335184"/>
              <a:gd name="connsiteY202" fmla="*/ 26384 h 266604"/>
              <a:gd name="connsiteX203" fmla="*/ 140017 w 335184"/>
              <a:gd name="connsiteY203" fmla="*/ 20098 h 266604"/>
              <a:gd name="connsiteX204" fmla="*/ 149828 w 335184"/>
              <a:gd name="connsiteY204" fmla="*/ 22003 h 266604"/>
              <a:gd name="connsiteX205" fmla="*/ 162496 w 335184"/>
              <a:gd name="connsiteY205" fmla="*/ 20383 h 266604"/>
              <a:gd name="connsiteX206" fmla="*/ 167259 w 335184"/>
              <a:gd name="connsiteY206" fmla="*/ 19812 h 266604"/>
              <a:gd name="connsiteX207" fmla="*/ 166402 w 335184"/>
              <a:gd name="connsiteY207" fmla="*/ 13525 h 266604"/>
              <a:gd name="connsiteX208" fmla="*/ 168021 w 335184"/>
              <a:gd name="connsiteY208" fmla="*/ 13335 h 266604"/>
              <a:gd name="connsiteX209" fmla="*/ 167354 w 335184"/>
              <a:gd name="connsiteY209" fmla="*/ 8572 h 266604"/>
              <a:gd name="connsiteX210" fmla="*/ 176879 w 335184"/>
              <a:gd name="connsiteY210" fmla="*/ 7334 h 266604"/>
              <a:gd name="connsiteX211" fmla="*/ 176498 w 335184"/>
              <a:gd name="connsiteY211" fmla="*/ 4191 h 266604"/>
              <a:gd name="connsiteX212" fmla="*/ 189452 w 335184"/>
              <a:gd name="connsiteY212" fmla="*/ 5715 h 266604"/>
              <a:gd name="connsiteX213" fmla="*/ 196025 w 335184"/>
              <a:gd name="connsiteY213" fmla="*/ 6572 h 266604"/>
              <a:gd name="connsiteX214" fmla="*/ 197167 w 335184"/>
              <a:gd name="connsiteY214" fmla="*/ 3143 h 266604"/>
              <a:gd name="connsiteX215" fmla="*/ 203645 w 335184"/>
              <a:gd name="connsiteY215" fmla="*/ 3905 h 266604"/>
              <a:gd name="connsiteX216" fmla="*/ 209645 w 335184"/>
              <a:gd name="connsiteY216" fmla="*/ 0 h 266604"/>
              <a:gd name="connsiteX217" fmla="*/ 214503 w 335184"/>
              <a:gd name="connsiteY217" fmla="*/ 952 h 266604"/>
              <a:gd name="connsiteX218" fmla="*/ 214408 w 335184"/>
              <a:gd name="connsiteY218" fmla="*/ 12192 h 266604"/>
              <a:gd name="connsiteX219" fmla="*/ 212788 w 335184"/>
              <a:gd name="connsiteY219" fmla="*/ 12382 h 266604"/>
              <a:gd name="connsiteX220" fmla="*/ 213550 w 335184"/>
              <a:gd name="connsiteY220" fmla="*/ 18764 h 266604"/>
              <a:gd name="connsiteX221" fmla="*/ 217932 w 335184"/>
              <a:gd name="connsiteY221" fmla="*/ 14954 h 266604"/>
              <a:gd name="connsiteX222" fmla="*/ 219932 w 335184"/>
              <a:gd name="connsiteY222" fmla="*/ 17907 h 266604"/>
              <a:gd name="connsiteX223" fmla="*/ 222885 w 335184"/>
              <a:gd name="connsiteY223" fmla="*/ 15907 h 266604"/>
              <a:gd name="connsiteX224" fmla="*/ 224028 w 335184"/>
              <a:gd name="connsiteY224" fmla="*/ 12573 h 266604"/>
              <a:gd name="connsiteX225" fmla="*/ 227838 w 335184"/>
              <a:gd name="connsiteY225" fmla="*/ 16954 h 266604"/>
              <a:gd name="connsiteX226" fmla="*/ 232696 w 335184"/>
              <a:gd name="connsiteY226" fmla="*/ 17907 h 266604"/>
              <a:gd name="connsiteX227" fmla="*/ 235077 w 335184"/>
              <a:gd name="connsiteY227" fmla="*/ 24003 h 266604"/>
              <a:gd name="connsiteX228" fmla="*/ 233744 w 335184"/>
              <a:gd name="connsiteY228" fmla="*/ 25813 h 266604"/>
              <a:gd name="connsiteX229" fmla="*/ 234505 w 335184"/>
              <a:gd name="connsiteY229" fmla="*/ 32099 h 266604"/>
              <a:gd name="connsiteX230" fmla="*/ 237458 w 335184"/>
              <a:gd name="connsiteY230" fmla="*/ 30099 h 266604"/>
              <a:gd name="connsiteX231" fmla="*/ 239268 w 335184"/>
              <a:gd name="connsiteY231" fmla="*/ 31432 h 266604"/>
              <a:gd name="connsiteX232" fmla="*/ 245745 w 335184"/>
              <a:gd name="connsiteY232" fmla="*/ 32290 h 266604"/>
              <a:gd name="connsiteX233" fmla="*/ 249936 w 335184"/>
              <a:gd name="connsiteY233" fmla="*/ 26956 h 266604"/>
              <a:gd name="connsiteX234" fmla="*/ 253079 w 335184"/>
              <a:gd name="connsiteY234" fmla="*/ 26479 h 266604"/>
              <a:gd name="connsiteX235" fmla="*/ 259556 w 335184"/>
              <a:gd name="connsiteY235" fmla="*/ 27241 h 266604"/>
              <a:gd name="connsiteX236" fmla="*/ 255651 w 335184"/>
              <a:gd name="connsiteY236" fmla="*/ 34195 h 266604"/>
              <a:gd name="connsiteX237" fmla="*/ 251079 w 335184"/>
              <a:gd name="connsiteY237" fmla="*/ 36385 h 266604"/>
              <a:gd name="connsiteX238" fmla="*/ 253270 w 335184"/>
              <a:gd name="connsiteY238" fmla="*/ 40957 h 266604"/>
              <a:gd name="connsiteX239" fmla="*/ 253460 w 335184"/>
              <a:gd name="connsiteY239" fmla="*/ 42481 h 266604"/>
              <a:gd name="connsiteX240" fmla="*/ 255937 w 335184"/>
              <a:gd name="connsiteY240" fmla="*/ 48577 h 266604"/>
              <a:gd name="connsiteX241" fmla="*/ 261461 w 335184"/>
              <a:gd name="connsiteY241" fmla="*/ 54292 h 266604"/>
              <a:gd name="connsiteX242" fmla="*/ 261461 w 335184"/>
              <a:gd name="connsiteY242" fmla="*/ 54292 h 266604"/>
              <a:gd name="connsiteX243" fmla="*/ 263366 w 335184"/>
              <a:gd name="connsiteY243" fmla="*/ 57245 h 266604"/>
              <a:gd name="connsiteX244" fmla="*/ 266795 w 335184"/>
              <a:gd name="connsiteY244" fmla="*/ 58483 h 266604"/>
              <a:gd name="connsiteX245" fmla="*/ 274415 w 335184"/>
              <a:gd name="connsiteY245" fmla="*/ 55912 h 266604"/>
              <a:gd name="connsiteX246" fmla="*/ 276225 w 335184"/>
              <a:gd name="connsiteY246" fmla="*/ 57245 h 266604"/>
              <a:gd name="connsiteX247" fmla="*/ 283940 w 335184"/>
              <a:gd name="connsiteY247" fmla="*/ 54673 h 266604"/>
              <a:gd name="connsiteX248" fmla="*/ 284702 w 335184"/>
              <a:gd name="connsiteY248" fmla="*/ 60960 h 266604"/>
              <a:gd name="connsiteX249" fmla="*/ 301085 w 335184"/>
              <a:gd name="connsiteY249" fmla="*/ 63722 h 266604"/>
              <a:gd name="connsiteX250" fmla="*/ 300133 w 335184"/>
              <a:gd name="connsiteY250" fmla="*/ 81439 h 266604"/>
              <a:gd name="connsiteX251" fmla="*/ 305467 w 335184"/>
              <a:gd name="connsiteY251" fmla="*/ 85630 h 266604"/>
              <a:gd name="connsiteX252" fmla="*/ 308420 w 335184"/>
              <a:gd name="connsiteY252" fmla="*/ 83629 h 266604"/>
              <a:gd name="connsiteX253" fmla="*/ 313563 w 335184"/>
              <a:gd name="connsiteY253" fmla="*/ 86201 h 266604"/>
              <a:gd name="connsiteX254" fmla="*/ 323659 w 335184"/>
              <a:gd name="connsiteY254" fmla="*/ 89725 h 266604"/>
              <a:gd name="connsiteX255" fmla="*/ 322326 w 335184"/>
              <a:gd name="connsiteY255" fmla="*/ 91440 h 266604"/>
              <a:gd name="connsiteX256" fmla="*/ 322707 w 335184"/>
              <a:gd name="connsiteY256" fmla="*/ 94583 h 266604"/>
              <a:gd name="connsiteX257" fmla="*/ 322707 w 335184"/>
              <a:gd name="connsiteY257" fmla="*/ 94583 h 266604"/>
              <a:gd name="connsiteX258" fmla="*/ 332804 w 335184"/>
              <a:gd name="connsiteY258" fmla="*/ 98203 h 266604"/>
              <a:gd name="connsiteX259" fmla="*/ 335185 w 335184"/>
              <a:gd name="connsiteY259" fmla="*/ 104299 h 266604"/>
              <a:gd name="connsiteX260" fmla="*/ 329279 w 335184"/>
              <a:gd name="connsiteY260" fmla="*/ 121063 h 266604"/>
              <a:gd name="connsiteX261" fmla="*/ 321374 w 335184"/>
              <a:gd name="connsiteY261" fmla="*/ 122015 h 266604"/>
              <a:gd name="connsiteX262" fmla="*/ 321564 w 335184"/>
              <a:gd name="connsiteY262" fmla="*/ 123634 h 266604"/>
              <a:gd name="connsiteX263" fmla="*/ 309563 w 335184"/>
              <a:gd name="connsiteY263" fmla="*/ 130016 h 266604"/>
              <a:gd name="connsiteX264" fmla="*/ 301657 w 335184"/>
              <a:gd name="connsiteY264" fmla="*/ 130969 h 266604"/>
              <a:gd name="connsiteX265" fmla="*/ 300323 w 335184"/>
              <a:gd name="connsiteY265" fmla="*/ 132778 h 266604"/>
              <a:gd name="connsiteX266" fmla="*/ 300323 w 335184"/>
              <a:gd name="connsiteY266" fmla="*/ 132778 h 266604"/>
              <a:gd name="connsiteX267" fmla="*/ 295561 w 335184"/>
              <a:gd name="connsiteY267" fmla="*/ 133350 h 266604"/>
              <a:gd name="connsiteX268" fmla="*/ 295751 w 335184"/>
              <a:gd name="connsiteY268" fmla="*/ 134969 h 266604"/>
              <a:gd name="connsiteX269" fmla="*/ 290798 w 335184"/>
              <a:gd name="connsiteY269" fmla="*/ 133921 h 266604"/>
              <a:gd name="connsiteX270" fmla="*/ 292799 w 335184"/>
              <a:gd name="connsiteY270" fmla="*/ 136874 h 266604"/>
              <a:gd name="connsiteX271" fmla="*/ 289846 w 335184"/>
              <a:gd name="connsiteY271" fmla="*/ 138874 h 266604"/>
              <a:gd name="connsiteX272" fmla="*/ 288226 w 335184"/>
              <a:gd name="connsiteY272" fmla="*/ 139065 h 266604"/>
              <a:gd name="connsiteX273" fmla="*/ 287655 w 335184"/>
              <a:gd name="connsiteY273" fmla="*/ 147161 h 266604"/>
              <a:gd name="connsiteX274" fmla="*/ 290513 w 335184"/>
              <a:gd name="connsiteY274" fmla="*/ 156496 h 266604"/>
              <a:gd name="connsiteX275" fmla="*/ 294989 w 335184"/>
              <a:gd name="connsiteY275" fmla="*/ 154305 h 266604"/>
              <a:gd name="connsiteX276" fmla="*/ 297371 w 335184"/>
              <a:gd name="connsiteY276" fmla="*/ 147542 h 266604"/>
              <a:gd name="connsiteX277" fmla="*/ 302705 w 335184"/>
              <a:gd name="connsiteY277" fmla="*/ 151733 h 266604"/>
              <a:gd name="connsiteX278" fmla="*/ 306896 w 335184"/>
              <a:gd name="connsiteY278" fmla="*/ 159163 h 266604"/>
              <a:gd name="connsiteX279" fmla="*/ 300514 w 335184"/>
              <a:gd name="connsiteY279" fmla="*/ 160020 h 266604"/>
              <a:gd name="connsiteX280" fmla="*/ 299752 w 335184"/>
              <a:gd name="connsiteY280" fmla="*/ 166497 h 266604"/>
              <a:gd name="connsiteX281" fmla="*/ 303943 w 335184"/>
              <a:gd name="connsiteY281" fmla="*/ 174022 h 266604"/>
              <a:gd name="connsiteX282" fmla="*/ 308134 w 335184"/>
              <a:gd name="connsiteY282" fmla="*/ 181451 h 266604"/>
              <a:gd name="connsiteX283" fmla="*/ 306896 w 335184"/>
              <a:gd name="connsiteY283" fmla="*/ 184880 h 266604"/>
              <a:gd name="connsiteX284" fmla="*/ 306896 w 335184"/>
              <a:gd name="connsiteY284" fmla="*/ 184880 h 266604"/>
              <a:gd name="connsiteX285" fmla="*/ 306896 w 335184"/>
              <a:gd name="connsiteY285" fmla="*/ 184880 h 266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</a:cxnLst>
            <a:rect l="l" t="t" r="r" b="b"/>
            <a:pathLst>
              <a:path w="335184" h="266604">
                <a:moveTo>
                  <a:pt x="306896" y="184880"/>
                </a:moveTo>
                <a:lnTo>
                  <a:pt x="307372" y="188023"/>
                </a:lnTo>
                <a:lnTo>
                  <a:pt x="302609" y="188595"/>
                </a:lnTo>
                <a:lnTo>
                  <a:pt x="303371" y="194881"/>
                </a:lnTo>
                <a:lnTo>
                  <a:pt x="300609" y="198501"/>
                </a:lnTo>
                <a:lnTo>
                  <a:pt x="295084" y="192786"/>
                </a:lnTo>
                <a:lnTo>
                  <a:pt x="293751" y="194500"/>
                </a:lnTo>
                <a:lnTo>
                  <a:pt x="292703" y="199453"/>
                </a:lnTo>
                <a:lnTo>
                  <a:pt x="290798" y="196501"/>
                </a:lnTo>
                <a:lnTo>
                  <a:pt x="289179" y="196691"/>
                </a:lnTo>
                <a:lnTo>
                  <a:pt x="293370" y="204216"/>
                </a:lnTo>
                <a:lnTo>
                  <a:pt x="289179" y="209550"/>
                </a:lnTo>
                <a:lnTo>
                  <a:pt x="284131" y="206978"/>
                </a:lnTo>
                <a:lnTo>
                  <a:pt x="279368" y="207550"/>
                </a:lnTo>
                <a:lnTo>
                  <a:pt x="274225" y="205073"/>
                </a:lnTo>
                <a:lnTo>
                  <a:pt x="274415" y="206597"/>
                </a:lnTo>
                <a:lnTo>
                  <a:pt x="272605" y="205264"/>
                </a:lnTo>
                <a:lnTo>
                  <a:pt x="271272" y="206978"/>
                </a:lnTo>
                <a:lnTo>
                  <a:pt x="269081" y="202501"/>
                </a:lnTo>
                <a:lnTo>
                  <a:pt x="269462" y="205645"/>
                </a:lnTo>
                <a:lnTo>
                  <a:pt x="265938" y="202882"/>
                </a:lnTo>
                <a:lnTo>
                  <a:pt x="265557" y="199739"/>
                </a:lnTo>
                <a:lnTo>
                  <a:pt x="264128" y="201549"/>
                </a:lnTo>
                <a:lnTo>
                  <a:pt x="261366" y="192214"/>
                </a:lnTo>
                <a:lnTo>
                  <a:pt x="256794" y="194405"/>
                </a:lnTo>
                <a:lnTo>
                  <a:pt x="256604" y="192881"/>
                </a:lnTo>
                <a:lnTo>
                  <a:pt x="254889" y="191452"/>
                </a:lnTo>
                <a:lnTo>
                  <a:pt x="251936" y="193453"/>
                </a:lnTo>
                <a:lnTo>
                  <a:pt x="251460" y="190309"/>
                </a:lnTo>
                <a:lnTo>
                  <a:pt x="251270" y="188690"/>
                </a:lnTo>
                <a:lnTo>
                  <a:pt x="248317" y="190690"/>
                </a:lnTo>
                <a:lnTo>
                  <a:pt x="249079" y="184213"/>
                </a:lnTo>
                <a:lnTo>
                  <a:pt x="244602" y="186404"/>
                </a:lnTo>
                <a:lnTo>
                  <a:pt x="243364" y="189738"/>
                </a:lnTo>
                <a:lnTo>
                  <a:pt x="243364" y="189738"/>
                </a:lnTo>
                <a:lnTo>
                  <a:pt x="240411" y="191738"/>
                </a:lnTo>
                <a:lnTo>
                  <a:pt x="237458" y="193643"/>
                </a:lnTo>
                <a:lnTo>
                  <a:pt x="238887" y="191929"/>
                </a:lnTo>
                <a:lnTo>
                  <a:pt x="235744" y="192310"/>
                </a:lnTo>
                <a:lnTo>
                  <a:pt x="235267" y="189166"/>
                </a:lnTo>
                <a:lnTo>
                  <a:pt x="233744" y="189357"/>
                </a:lnTo>
                <a:lnTo>
                  <a:pt x="228791" y="188404"/>
                </a:lnTo>
                <a:lnTo>
                  <a:pt x="228981" y="189928"/>
                </a:lnTo>
                <a:lnTo>
                  <a:pt x="226219" y="193548"/>
                </a:lnTo>
                <a:lnTo>
                  <a:pt x="221551" y="194119"/>
                </a:lnTo>
                <a:lnTo>
                  <a:pt x="214408" y="188595"/>
                </a:lnTo>
                <a:lnTo>
                  <a:pt x="211455" y="190595"/>
                </a:lnTo>
                <a:lnTo>
                  <a:pt x="205359" y="192976"/>
                </a:lnTo>
                <a:lnTo>
                  <a:pt x="211265" y="201835"/>
                </a:lnTo>
                <a:lnTo>
                  <a:pt x="203740" y="206026"/>
                </a:lnTo>
                <a:lnTo>
                  <a:pt x="204216" y="209169"/>
                </a:lnTo>
                <a:lnTo>
                  <a:pt x="202406" y="207740"/>
                </a:lnTo>
                <a:lnTo>
                  <a:pt x="200978" y="209550"/>
                </a:lnTo>
                <a:lnTo>
                  <a:pt x="199644" y="211360"/>
                </a:lnTo>
                <a:lnTo>
                  <a:pt x="196501" y="211741"/>
                </a:lnTo>
                <a:lnTo>
                  <a:pt x="195644" y="205454"/>
                </a:lnTo>
                <a:lnTo>
                  <a:pt x="180308" y="210598"/>
                </a:lnTo>
                <a:lnTo>
                  <a:pt x="181070" y="216884"/>
                </a:lnTo>
                <a:lnTo>
                  <a:pt x="182690" y="216694"/>
                </a:lnTo>
                <a:lnTo>
                  <a:pt x="182880" y="218313"/>
                </a:lnTo>
                <a:lnTo>
                  <a:pt x="171831" y="219646"/>
                </a:lnTo>
                <a:lnTo>
                  <a:pt x="172403" y="224409"/>
                </a:lnTo>
                <a:lnTo>
                  <a:pt x="167354" y="221837"/>
                </a:lnTo>
                <a:lnTo>
                  <a:pt x="166973" y="231553"/>
                </a:lnTo>
                <a:lnTo>
                  <a:pt x="164211" y="235077"/>
                </a:lnTo>
                <a:lnTo>
                  <a:pt x="159258" y="234125"/>
                </a:lnTo>
                <a:lnTo>
                  <a:pt x="155924" y="232981"/>
                </a:lnTo>
                <a:lnTo>
                  <a:pt x="152495" y="231743"/>
                </a:lnTo>
                <a:lnTo>
                  <a:pt x="148400" y="237077"/>
                </a:lnTo>
                <a:lnTo>
                  <a:pt x="137732" y="241649"/>
                </a:lnTo>
                <a:lnTo>
                  <a:pt x="133064" y="242316"/>
                </a:lnTo>
                <a:lnTo>
                  <a:pt x="122111" y="232410"/>
                </a:lnTo>
                <a:lnTo>
                  <a:pt x="120777" y="234220"/>
                </a:lnTo>
                <a:lnTo>
                  <a:pt x="116872" y="253937"/>
                </a:lnTo>
                <a:lnTo>
                  <a:pt x="117634" y="260223"/>
                </a:lnTo>
                <a:lnTo>
                  <a:pt x="118110" y="263462"/>
                </a:lnTo>
                <a:lnTo>
                  <a:pt x="118491" y="266605"/>
                </a:lnTo>
                <a:lnTo>
                  <a:pt x="115157" y="265367"/>
                </a:lnTo>
                <a:lnTo>
                  <a:pt x="112776" y="259271"/>
                </a:lnTo>
                <a:lnTo>
                  <a:pt x="107823" y="258318"/>
                </a:lnTo>
                <a:lnTo>
                  <a:pt x="101917" y="262318"/>
                </a:lnTo>
                <a:lnTo>
                  <a:pt x="101727" y="260699"/>
                </a:lnTo>
                <a:lnTo>
                  <a:pt x="101251" y="257556"/>
                </a:lnTo>
                <a:lnTo>
                  <a:pt x="97917" y="256413"/>
                </a:lnTo>
                <a:lnTo>
                  <a:pt x="92012" y="260318"/>
                </a:lnTo>
                <a:lnTo>
                  <a:pt x="91821" y="258794"/>
                </a:lnTo>
                <a:lnTo>
                  <a:pt x="77438" y="258985"/>
                </a:lnTo>
                <a:lnTo>
                  <a:pt x="75247" y="254413"/>
                </a:lnTo>
                <a:lnTo>
                  <a:pt x="69913" y="250317"/>
                </a:lnTo>
                <a:lnTo>
                  <a:pt x="67913" y="247364"/>
                </a:lnTo>
                <a:lnTo>
                  <a:pt x="71628" y="238887"/>
                </a:lnTo>
                <a:lnTo>
                  <a:pt x="74581" y="236887"/>
                </a:lnTo>
                <a:lnTo>
                  <a:pt x="79724" y="239459"/>
                </a:lnTo>
                <a:lnTo>
                  <a:pt x="83629" y="232505"/>
                </a:lnTo>
                <a:lnTo>
                  <a:pt x="83439" y="230981"/>
                </a:lnTo>
                <a:lnTo>
                  <a:pt x="81725" y="229552"/>
                </a:lnTo>
                <a:lnTo>
                  <a:pt x="72390" y="232315"/>
                </a:lnTo>
                <a:lnTo>
                  <a:pt x="70866" y="232600"/>
                </a:lnTo>
                <a:lnTo>
                  <a:pt x="70675" y="230981"/>
                </a:lnTo>
                <a:lnTo>
                  <a:pt x="79153" y="221837"/>
                </a:lnTo>
                <a:lnTo>
                  <a:pt x="78486" y="217170"/>
                </a:lnTo>
                <a:lnTo>
                  <a:pt x="74962" y="214408"/>
                </a:lnTo>
                <a:lnTo>
                  <a:pt x="81058" y="212026"/>
                </a:lnTo>
                <a:lnTo>
                  <a:pt x="75724" y="207836"/>
                </a:lnTo>
                <a:lnTo>
                  <a:pt x="74104" y="208121"/>
                </a:lnTo>
                <a:lnTo>
                  <a:pt x="63532" y="212693"/>
                </a:lnTo>
                <a:lnTo>
                  <a:pt x="61150" y="206502"/>
                </a:lnTo>
                <a:lnTo>
                  <a:pt x="57912" y="206978"/>
                </a:lnTo>
                <a:lnTo>
                  <a:pt x="56007" y="204025"/>
                </a:lnTo>
                <a:lnTo>
                  <a:pt x="52578" y="202787"/>
                </a:lnTo>
                <a:lnTo>
                  <a:pt x="52388" y="201263"/>
                </a:lnTo>
                <a:lnTo>
                  <a:pt x="48673" y="196882"/>
                </a:lnTo>
                <a:lnTo>
                  <a:pt x="51625" y="194881"/>
                </a:lnTo>
                <a:lnTo>
                  <a:pt x="52007" y="185261"/>
                </a:lnTo>
                <a:lnTo>
                  <a:pt x="59055" y="190786"/>
                </a:lnTo>
                <a:lnTo>
                  <a:pt x="63437" y="174212"/>
                </a:lnTo>
                <a:lnTo>
                  <a:pt x="63246" y="172593"/>
                </a:lnTo>
                <a:lnTo>
                  <a:pt x="50387" y="172593"/>
                </a:lnTo>
                <a:lnTo>
                  <a:pt x="43244" y="167068"/>
                </a:lnTo>
                <a:lnTo>
                  <a:pt x="39719" y="164401"/>
                </a:lnTo>
                <a:lnTo>
                  <a:pt x="30194" y="152781"/>
                </a:lnTo>
                <a:lnTo>
                  <a:pt x="30004" y="151162"/>
                </a:lnTo>
                <a:lnTo>
                  <a:pt x="30766" y="144685"/>
                </a:lnTo>
                <a:lnTo>
                  <a:pt x="29242" y="144875"/>
                </a:lnTo>
                <a:lnTo>
                  <a:pt x="31909" y="141256"/>
                </a:lnTo>
                <a:lnTo>
                  <a:pt x="31528" y="138113"/>
                </a:lnTo>
                <a:lnTo>
                  <a:pt x="26765" y="138779"/>
                </a:lnTo>
                <a:lnTo>
                  <a:pt x="26384" y="135541"/>
                </a:lnTo>
                <a:lnTo>
                  <a:pt x="23241" y="136017"/>
                </a:lnTo>
                <a:lnTo>
                  <a:pt x="21241" y="133064"/>
                </a:lnTo>
                <a:lnTo>
                  <a:pt x="16383" y="132016"/>
                </a:lnTo>
                <a:lnTo>
                  <a:pt x="15716" y="127349"/>
                </a:lnTo>
                <a:lnTo>
                  <a:pt x="18859" y="126873"/>
                </a:lnTo>
                <a:lnTo>
                  <a:pt x="23432" y="124777"/>
                </a:lnTo>
                <a:lnTo>
                  <a:pt x="22384" y="116872"/>
                </a:lnTo>
                <a:lnTo>
                  <a:pt x="33433" y="115443"/>
                </a:lnTo>
                <a:lnTo>
                  <a:pt x="37052" y="118205"/>
                </a:lnTo>
                <a:lnTo>
                  <a:pt x="38195" y="114871"/>
                </a:lnTo>
                <a:lnTo>
                  <a:pt x="44672" y="115633"/>
                </a:lnTo>
                <a:lnTo>
                  <a:pt x="44482" y="114014"/>
                </a:lnTo>
                <a:lnTo>
                  <a:pt x="44291" y="112490"/>
                </a:lnTo>
                <a:lnTo>
                  <a:pt x="44101" y="110871"/>
                </a:lnTo>
                <a:lnTo>
                  <a:pt x="40767" y="109728"/>
                </a:lnTo>
                <a:lnTo>
                  <a:pt x="41910" y="106299"/>
                </a:lnTo>
                <a:lnTo>
                  <a:pt x="34004" y="107347"/>
                </a:lnTo>
                <a:lnTo>
                  <a:pt x="33052" y="99441"/>
                </a:lnTo>
                <a:lnTo>
                  <a:pt x="30099" y="101441"/>
                </a:lnTo>
                <a:lnTo>
                  <a:pt x="24955" y="98869"/>
                </a:lnTo>
                <a:lnTo>
                  <a:pt x="23717" y="89440"/>
                </a:lnTo>
                <a:lnTo>
                  <a:pt x="20193" y="86677"/>
                </a:lnTo>
                <a:lnTo>
                  <a:pt x="23146" y="84677"/>
                </a:lnTo>
                <a:lnTo>
                  <a:pt x="19145" y="78772"/>
                </a:lnTo>
                <a:lnTo>
                  <a:pt x="13049" y="81153"/>
                </a:lnTo>
                <a:lnTo>
                  <a:pt x="8572" y="83344"/>
                </a:lnTo>
                <a:lnTo>
                  <a:pt x="4953" y="80581"/>
                </a:lnTo>
                <a:lnTo>
                  <a:pt x="667" y="84296"/>
                </a:lnTo>
                <a:lnTo>
                  <a:pt x="191" y="81153"/>
                </a:lnTo>
                <a:lnTo>
                  <a:pt x="0" y="79629"/>
                </a:lnTo>
                <a:lnTo>
                  <a:pt x="9334" y="76771"/>
                </a:lnTo>
                <a:lnTo>
                  <a:pt x="8668" y="72104"/>
                </a:lnTo>
                <a:lnTo>
                  <a:pt x="10096" y="70294"/>
                </a:lnTo>
                <a:lnTo>
                  <a:pt x="11811" y="71723"/>
                </a:lnTo>
                <a:lnTo>
                  <a:pt x="13621" y="73057"/>
                </a:lnTo>
                <a:lnTo>
                  <a:pt x="21336" y="70485"/>
                </a:lnTo>
                <a:lnTo>
                  <a:pt x="21146" y="68866"/>
                </a:lnTo>
                <a:lnTo>
                  <a:pt x="22479" y="67151"/>
                </a:lnTo>
                <a:lnTo>
                  <a:pt x="22670" y="68675"/>
                </a:lnTo>
                <a:lnTo>
                  <a:pt x="31813" y="64294"/>
                </a:lnTo>
                <a:lnTo>
                  <a:pt x="37909" y="61913"/>
                </a:lnTo>
                <a:lnTo>
                  <a:pt x="41815" y="67818"/>
                </a:lnTo>
                <a:lnTo>
                  <a:pt x="43244" y="66103"/>
                </a:lnTo>
                <a:lnTo>
                  <a:pt x="50483" y="60388"/>
                </a:lnTo>
                <a:lnTo>
                  <a:pt x="48292" y="55816"/>
                </a:lnTo>
                <a:lnTo>
                  <a:pt x="52864" y="53626"/>
                </a:lnTo>
                <a:lnTo>
                  <a:pt x="52483" y="50482"/>
                </a:lnTo>
                <a:lnTo>
                  <a:pt x="57436" y="51435"/>
                </a:lnTo>
                <a:lnTo>
                  <a:pt x="59150" y="52864"/>
                </a:lnTo>
                <a:lnTo>
                  <a:pt x="62294" y="52388"/>
                </a:lnTo>
                <a:lnTo>
                  <a:pt x="62960" y="57150"/>
                </a:lnTo>
                <a:lnTo>
                  <a:pt x="65342" y="63246"/>
                </a:lnTo>
                <a:lnTo>
                  <a:pt x="65913" y="68008"/>
                </a:lnTo>
                <a:lnTo>
                  <a:pt x="72009" y="65627"/>
                </a:lnTo>
                <a:lnTo>
                  <a:pt x="90011" y="68104"/>
                </a:lnTo>
                <a:lnTo>
                  <a:pt x="94679" y="67532"/>
                </a:lnTo>
                <a:lnTo>
                  <a:pt x="90392" y="58483"/>
                </a:lnTo>
                <a:lnTo>
                  <a:pt x="92678" y="51721"/>
                </a:lnTo>
                <a:lnTo>
                  <a:pt x="91154" y="51911"/>
                </a:lnTo>
                <a:lnTo>
                  <a:pt x="90964" y="50387"/>
                </a:lnTo>
                <a:lnTo>
                  <a:pt x="90107" y="44101"/>
                </a:lnTo>
                <a:lnTo>
                  <a:pt x="91535" y="42291"/>
                </a:lnTo>
                <a:lnTo>
                  <a:pt x="91059" y="39148"/>
                </a:lnTo>
                <a:lnTo>
                  <a:pt x="96393" y="30480"/>
                </a:lnTo>
                <a:lnTo>
                  <a:pt x="102965" y="31242"/>
                </a:lnTo>
                <a:lnTo>
                  <a:pt x="108013" y="33814"/>
                </a:lnTo>
                <a:lnTo>
                  <a:pt x="111252" y="33338"/>
                </a:lnTo>
                <a:lnTo>
                  <a:pt x="116776" y="39052"/>
                </a:lnTo>
                <a:lnTo>
                  <a:pt x="121253" y="36862"/>
                </a:lnTo>
                <a:lnTo>
                  <a:pt x="122301" y="32004"/>
                </a:lnTo>
                <a:lnTo>
                  <a:pt x="125635" y="33147"/>
                </a:lnTo>
                <a:lnTo>
                  <a:pt x="136493" y="30194"/>
                </a:lnTo>
                <a:lnTo>
                  <a:pt x="136493" y="30194"/>
                </a:lnTo>
                <a:lnTo>
                  <a:pt x="135826" y="25432"/>
                </a:lnTo>
                <a:lnTo>
                  <a:pt x="140779" y="26384"/>
                </a:lnTo>
                <a:lnTo>
                  <a:pt x="140017" y="20098"/>
                </a:lnTo>
                <a:lnTo>
                  <a:pt x="149828" y="22003"/>
                </a:lnTo>
                <a:lnTo>
                  <a:pt x="162496" y="20383"/>
                </a:lnTo>
                <a:lnTo>
                  <a:pt x="167259" y="19812"/>
                </a:lnTo>
                <a:lnTo>
                  <a:pt x="166402" y="13525"/>
                </a:lnTo>
                <a:lnTo>
                  <a:pt x="168021" y="13335"/>
                </a:lnTo>
                <a:lnTo>
                  <a:pt x="167354" y="8572"/>
                </a:lnTo>
                <a:lnTo>
                  <a:pt x="176879" y="7334"/>
                </a:lnTo>
                <a:lnTo>
                  <a:pt x="176498" y="4191"/>
                </a:lnTo>
                <a:lnTo>
                  <a:pt x="189452" y="5715"/>
                </a:lnTo>
                <a:lnTo>
                  <a:pt x="196025" y="6572"/>
                </a:lnTo>
                <a:lnTo>
                  <a:pt x="197167" y="3143"/>
                </a:lnTo>
                <a:lnTo>
                  <a:pt x="203645" y="3905"/>
                </a:lnTo>
                <a:lnTo>
                  <a:pt x="209645" y="0"/>
                </a:lnTo>
                <a:lnTo>
                  <a:pt x="214503" y="952"/>
                </a:lnTo>
                <a:lnTo>
                  <a:pt x="214408" y="12192"/>
                </a:lnTo>
                <a:lnTo>
                  <a:pt x="212788" y="12382"/>
                </a:lnTo>
                <a:lnTo>
                  <a:pt x="213550" y="18764"/>
                </a:lnTo>
                <a:lnTo>
                  <a:pt x="217932" y="14954"/>
                </a:lnTo>
                <a:lnTo>
                  <a:pt x="219932" y="17907"/>
                </a:lnTo>
                <a:lnTo>
                  <a:pt x="222885" y="15907"/>
                </a:lnTo>
                <a:lnTo>
                  <a:pt x="224028" y="12573"/>
                </a:lnTo>
                <a:lnTo>
                  <a:pt x="227838" y="16954"/>
                </a:lnTo>
                <a:lnTo>
                  <a:pt x="232696" y="17907"/>
                </a:lnTo>
                <a:lnTo>
                  <a:pt x="235077" y="24003"/>
                </a:lnTo>
                <a:lnTo>
                  <a:pt x="233744" y="25813"/>
                </a:lnTo>
                <a:lnTo>
                  <a:pt x="234505" y="32099"/>
                </a:lnTo>
                <a:lnTo>
                  <a:pt x="237458" y="30099"/>
                </a:lnTo>
                <a:lnTo>
                  <a:pt x="239268" y="31432"/>
                </a:lnTo>
                <a:lnTo>
                  <a:pt x="245745" y="32290"/>
                </a:lnTo>
                <a:lnTo>
                  <a:pt x="249936" y="26956"/>
                </a:lnTo>
                <a:lnTo>
                  <a:pt x="253079" y="26479"/>
                </a:lnTo>
                <a:lnTo>
                  <a:pt x="259556" y="27241"/>
                </a:lnTo>
                <a:lnTo>
                  <a:pt x="255651" y="34195"/>
                </a:lnTo>
                <a:lnTo>
                  <a:pt x="251079" y="36385"/>
                </a:lnTo>
                <a:lnTo>
                  <a:pt x="253270" y="40957"/>
                </a:lnTo>
                <a:lnTo>
                  <a:pt x="253460" y="42481"/>
                </a:lnTo>
                <a:lnTo>
                  <a:pt x="255937" y="48577"/>
                </a:lnTo>
                <a:lnTo>
                  <a:pt x="261461" y="54292"/>
                </a:lnTo>
                <a:lnTo>
                  <a:pt x="261461" y="54292"/>
                </a:lnTo>
                <a:lnTo>
                  <a:pt x="263366" y="57245"/>
                </a:lnTo>
                <a:lnTo>
                  <a:pt x="266795" y="58483"/>
                </a:lnTo>
                <a:lnTo>
                  <a:pt x="274415" y="55912"/>
                </a:lnTo>
                <a:lnTo>
                  <a:pt x="276225" y="57245"/>
                </a:lnTo>
                <a:lnTo>
                  <a:pt x="283940" y="54673"/>
                </a:lnTo>
                <a:lnTo>
                  <a:pt x="284702" y="60960"/>
                </a:lnTo>
                <a:lnTo>
                  <a:pt x="301085" y="63722"/>
                </a:lnTo>
                <a:lnTo>
                  <a:pt x="300133" y="81439"/>
                </a:lnTo>
                <a:lnTo>
                  <a:pt x="305467" y="85630"/>
                </a:lnTo>
                <a:lnTo>
                  <a:pt x="308420" y="83629"/>
                </a:lnTo>
                <a:lnTo>
                  <a:pt x="313563" y="86201"/>
                </a:lnTo>
                <a:lnTo>
                  <a:pt x="323659" y="89725"/>
                </a:lnTo>
                <a:lnTo>
                  <a:pt x="322326" y="91440"/>
                </a:lnTo>
                <a:lnTo>
                  <a:pt x="322707" y="94583"/>
                </a:lnTo>
                <a:lnTo>
                  <a:pt x="322707" y="94583"/>
                </a:lnTo>
                <a:lnTo>
                  <a:pt x="332804" y="98203"/>
                </a:lnTo>
                <a:lnTo>
                  <a:pt x="335185" y="104299"/>
                </a:lnTo>
                <a:lnTo>
                  <a:pt x="329279" y="121063"/>
                </a:lnTo>
                <a:lnTo>
                  <a:pt x="321374" y="122015"/>
                </a:lnTo>
                <a:lnTo>
                  <a:pt x="321564" y="123634"/>
                </a:lnTo>
                <a:lnTo>
                  <a:pt x="309563" y="130016"/>
                </a:lnTo>
                <a:lnTo>
                  <a:pt x="301657" y="130969"/>
                </a:lnTo>
                <a:lnTo>
                  <a:pt x="300323" y="132778"/>
                </a:lnTo>
                <a:lnTo>
                  <a:pt x="300323" y="132778"/>
                </a:lnTo>
                <a:lnTo>
                  <a:pt x="295561" y="133350"/>
                </a:lnTo>
                <a:lnTo>
                  <a:pt x="295751" y="134969"/>
                </a:lnTo>
                <a:lnTo>
                  <a:pt x="290798" y="133921"/>
                </a:lnTo>
                <a:lnTo>
                  <a:pt x="292799" y="136874"/>
                </a:lnTo>
                <a:lnTo>
                  <a:pt x="289846" y="138874"/>
                </a:lnTo>
                <a:lnTo>
                  <a:pt x="288226" y="139065"/>
                </a:lnTo>
                <a:lnTo>
                  <a:pt x="287655" y="147161"/>
                </a:lnTo>
                <a:lnTo>
                  <a:pt x="290513" y="156496"/>
                </a:lnTo>
                <a:lnTo>
                  <a:pt x="294989" y="154305"/>
                </a:lnTo>
                <a:lnTo>
                  <a:pt x="297371" y="147542"/>
                </a:lnTo>
                <a:lnTo>
                  <a:pt x="302705" y="151733"/>
                </a:lnTo>
                <a:lnTo>
                  <a:pt x="306896" y="159163"/>
                </a:lnTo>
                <a:lnTo>
                  <a:pt x="300514" y="160020"/>
                </a:lnTo>
                <a:lnTo>
                  <a:pt x="299752" y="166497"/>
                </a:lnTo>
                <a:lnTo>
                  <a:pt x="303943" y="174022"/>
                </a:lnTo>
                <a:lnTo>
                  <a:pt x="308134" y="181451"/>
                </a:lnTo>
                <a:lnTo>
                  <a:pt x="306896" y="184880"/>
                </a:lnTo>
                <a:lnTo>
                  <a:pt x="306896" y="184880"/>
                </a:lnTo>
                <a:lnTo>
                  <a:pt x="306896" y="184880"/>
                </a:lnTo>
                <a:close/>
              </a:path>
            </a:pathLst>
          </a:custGeom>
          <a:noFill/>
          <a:ln w="1270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cs-CZ"/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9004FD94-93C7-E15D-43F6-48DDE8DC194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604890" y="1534911"/>
            <a:ext cx="5246408" cy="14044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pic>
        <p:nvPicPr>
          <p:cNvPr id="5" name="Obrázek 12">
            <a:extLst>
              <a:ext uri="{FF2B5EF4-FFF2-40B4-BE49-F238E27FC236}">
                <a16:creationId xmlns:a16="http://schemas.microsoft.com/office/drawing/2014/main" id="{A16527A9-04F6-7870-B8CD-1A2C04B5B2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03" r="27128" b="4865"/>
          <a:stretch/>
        </p:blipFill>
        <p:spPr>
          <a:xfrm>
            <a:off x="28000" y="4625000"/>
            <a:ext cx="1319753" cy="1176041"/>
          </a:xfrm>
          <a:prstGeom prst="rect">
            <a:avLst/>
          </a:prstGeom>
        </p:spPr>
      </p:pic>
      <p:pic>
        <p:nvPicPr>
          <p:cNvPr id="6" name="Obrázek 5" descr="cid:image001.jpg@01CED555.8CFAB4A0">
            <a:extLst>
              <a:ext uri="{FF2B5EF4-FFF2-40B4-BE49-F238E27FC236}">
                <a16:creationId xmlns:a16="http://schemas.microsoft.com/office/drawing/2014/main" id="{7BD8D818-C316-D6BF-0ED4-8C5471499CFD}"/>
              </a:ext>
            </a:extLst>
          </p:cNvPr>
          <p:cNvPicPr/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9" descr="logo_mzcr">
            <a:extLst>
              <a:ext uri="{FF2B5EF4-FFF2-40B4-BE49-F238E27FC236}">
                <a16:creationId xmlns:a16="http://schemas.microsoft.com/office/drawing/2014/main" id="{59F9B702-1341-4112-5E08-0347946CED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63D6DAEE-DC8D-4041-DF6B-273B6ED531B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02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06406" y="323291"/>
            <a:ext cx="1143010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STRATEGICKÉ ANALÝZY POTŘEB REZORTU ZDRAVOTNICTVÍ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6" y="5627645"/>
            <a:ext cx="4732855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Tisková konference, 20.6. 2024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  <p:pic>
        <p:nvPicPr>
          <p:cNvPr id="3" name="Obrázek 12">
            <a:extLst>
              <a:ext uri="{FF2B5EF4-FFF2-40B4-BE49-F238E27FC236}">
                <a16:creationId xmlns:a16="http://schemas.microsoft.com/office/drawing/2014/main" id="{0A191508-A489-9B4F-C09F-3BA5C8D465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10" r="27128"/>
          <a:stretch/>
        </p:blipFill>
        <p:spPr>
          <a:xfrm>
            <a:off x="206406" y="916241"/>
            <a:ext cx="928320" cy="936473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F6E7AE88-0F5A-4EE3-6F61-7C222D02B370}"/>
              </a:ext>
            </a:extLst>
          </p:cNvPr>
          <p:cNvSpPr txBox="1"/>
          <p:nvPr userDrawn="1"/>
        </p:nvSpPr>
        <p:spPr>
          <a:xfrm>
            <a:off x="1143143" y="887182"/>
            <a:ext cx="57074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pacity vybraných ambulantních profesí v Praze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3139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167953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366129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8587455-5AC3-4F6B-BE52-826326AFD3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Jméno předkládajícího s tituly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3A84368-F699-48A6-8383-4822D7F23B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/>
          <a:p>
            <a:fld id="{0DE708CC-0C3F-4567-9698-B54C0F35BD31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322FA9F0-97E4-45C3-84A8-592F85A6A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02" y="2900365"/>
            <a:ext cx="11361600" cy="1171580"/>
          </a:xfrm>
        </p:spPr>
        <p:txBody>
          <a:bodyPr anchor="t"/>
          <a:lstStyle>
            <a:lvl1pPr algn="l">
              <a:lnSpc>
                <a:spcPts val="4400"/>
              </a:lnSpc>
              <a:defRPr sz="4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000" y="414000"/>
            <a:ext cx="1546943" cy="1067390"/>
          </a:xfrm>
          <a:prstGeom prst="rect">
            <a:avLst/>
          </a:prstGeom>
        </p:spPr>
      </p:pic>
      <p:sp>
        <p:nvSpPr>
          <p:cNvPr id="8" name="Podnadpis 2"/>
          <p:cNvSpPr>
            <a:spLocks noGrp="1"/>
          </p:cNvSpPr>
          <p:nvPr>
            <p:ph type="subTitle" idx="1"/>
          </p:nvPr>
        </p:nvSpPr>
        <p:spPr>
          <a:xfrm>
            <a:off x="398502" y="4116402"/>
            <a:ext cx="11361600" cy="698497"/>
          </a:xfrm>
        </p:spPr>
        <p:txBody>
          <a:bodyPr anchor="t"/>
          <a:lstStyle>
            <a:lvl1pPr marL="0" indent="0" algn="l">
              <a:buNone/>
              <a:defRPr lang="cs-CZ" sz="2400" b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3449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pos="23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cs-CZ"/>
              <a:t>Jméno předkládajícího s tituly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7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2"/>
            <a:ext cx="10753200" cy="4139998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635383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pod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2"/>
            <a:ext cx="10753200" cy="4139998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cs-CZ"/>
              <a:t>Jméno předkládajícího s tituly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7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8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8469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 a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6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725" y="1296001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8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3200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21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1278" y="1290515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2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1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3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90271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20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7" y="1695074"/>
            <a:ext cx="5218413" cy="3896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BDE9BC5-EE25-44B2-8081-F2B94BAA6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9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12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67024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7240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  <p15:guide id="2" pos="724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podnadpis a tři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ástupný symbol pro obsah 12">
            <a:extLst>
              <a:ext uri="{FF2B5EF4-FFF2-40B4-BE49-F238E27FC236}">
                <a16:creationId xmlns:a16="http://schemas.microsoft.com/office/drawing/2014/main" id="{548D6DE9-EB16-4D0A-9F96-DD69C3E9721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40000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C2D097E9-9E99-4F02-A434-E69D713D0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99" y="4414271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7" name="Zástupný symbol pro text 5">
            <a:extLst>
              <a:ext uri="{FF2B5EF4-FFF2-40B4-BE49-F238E27FC236}">
                <a16:creationId xmlns:a16="http://schemas.microsoft.com/office/drawing/2014/main" id="{7E169087-A2FD-4849-9AAC-BD41AA07A5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0000" y="4414271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E14CE5FF-FB97-4634-9714-4B5C0FDA38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61200" y="4414270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4" name="Zástupný symbol pro text 13">
            <a:extLst>
              <a:ext uri="{FF2B5EF4-FFF2-40B4-BE49-F238E27FC236}">
                <a16:creationId xmlns:a16="http://schemas.microsoft.com/office/drawing/2014/main" id="{DD220DBF-2B26-4E32-826A-79839FF51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AD9E96F9-7F56-4453-A9FC-693AF7E57B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475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6" name="Zástupný symbol pro text 13">
            <a:extLst>
              <a:ext uri="{FF2B5EF4-FFF2-40B4-BE49-F238E27FC236}">
                <a16:creationId xmlns:a16="http://schemas.microsoft.com/office/drawing/2014/main" id="{88362389-3E8C-4129-819C-75F0F7922D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61436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8" name="Zástupný symbol pro obsah 12">
            <a:extLst>
              <a:ext uri="{FF2B5EF4-FFF2-40B4-BE49-F238E27FC236}">
                <a16:creationId xmlns:a16="http://schemas.microsoft.com/office/drawing/2014/main" id="{DE897ACA-C285-471C-BF3F-2886D04C7F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9999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0" name="Zástupný symbol pro obsah 12">
            <a:extLst>
              <a:ext uri="{FF2B5EF4-FFF2-40B4-BE49-F238E27FC236}">
                <a16:creationId xmlns:a16="http://schemas.microsoft.com/office/drawing/2014/main" id="{9AF93628-9CF3-4CB5-A8C7-735B527D49B2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160001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9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8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1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3200" cy="451576"/>
          </a:xfrm>
        </p:spPr>
        <p:txBody>
          <a:bodyPr/>
          <a:lstStyle/>
          <a:p>
            <a:r>
              <a:rPr lang="cs-CZ" dirty="0"/>
              <a:t>Kliknutím lze upravit styl.</a:t>
            </a:r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325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sah a text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4" name="Zástupný symbol pro obsah 2"/>
          <p:cNvSpPr>
            <a:spLocks noGrp="1"/>
          </p:cNvSpPr>
          <p:nvPr>
            <p:ph idx="1"/>
          </p:nvPr>
        </p:nvSpPr>
        <p:spPr>
          <a:xfrm>
            <a:off x="6272212" y="692150"/>
            <a:ext cx="5200987" cy="513985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9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7" y="692150"/>
            <a:ext cx="5218413" cy="4899635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0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73757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8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18527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sah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0" name="Zástupný symbol pro obsah 2"/>
          <p:cNvSpPr>
            <a:spLocks noGrp="1"/>
          </p:cNvSpPr>
          <p:nvPr>
            <p:ph idx="1"/>
          </p:nvPr>
        </p:nvSpPr>
        <p:spPr>
          <a:xfrm>
            <a:off x="720000" y="692150"/>
            <a:ext cx="10753200" cy="513985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653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rázky text - dva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pro obsah 12">
            <a:extLst>
              <a:ext uri="{FF2B5EF4-FFF2-40B4-BE49-F238E27FC236}">
                <a16:creationId xmlns:a16="http://schemas.microsoft.com/office/drawing/2014/main" id="{9622FDD6-5C71-4DE9-BFBE-6443A2855E5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997" y="718712"/>
            <a:ext cx="5220001" cy="320400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8D903DEB-B441-46DB-8462-2640DC8DB3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1" name="Zástupný symbol pro text 13">
            <a:extLst>
              <a:ext uri="{FF2B5EF4-FFF2-40B4-BE49-F238E27FC236}">
                <a16:creationId xmlns:a16="http://schemas.microsoft.com/office/drawing/2014/main" id="{66F1D7B9-D1BE-446E-87CA-6AD81AFA83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4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3" name="Zástupný symbol pro text 5">
            <a:extLst>
              <a:ext uri="{FF2B5EF4-FFF2-40B4-BE49-F238E27FC236}">
                <a16:creationId xmlns:a16="http://schemas.microsoft.com/office/drawing/2014/main" id="{3947EF07-8AF7-4904-8565-F5D81E4282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1278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334B9440-7A06-4BF8-9532-C11248171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2003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7" name="Zástupný symbol pro obsah 12">
            <a:extLst>
              <a:ext uri="{FF2B5EF4-FFF2-40B4-BE49-F238E27FC236}">
                <a16:creationId xmlns:a16="http://schemas.microsoft.com/office/drawing/2014/main" id="{263AA377-982D-4CA3-B9BD-C61AF652481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51278" y="718712"/>
            <a:ext cx="5220001" cy="320400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1148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ázd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0" y="6228000"/>
            <a:ext cx="252000" cy="25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6876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nímek M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1FBE0B78-FC15-8C43-8794-278D33D54307}"/>
              </a:ext>
            </a:extLst>
          </p:cNvPr>
          <p:cNvSpPr txBox="1"/>
          <p:nvPr userDrawn="1"/>
        </p:nvSpPr>
        <p:spPr>
          <a:xfrm>
            <a:off x="0" y="3429000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000">
                <a:solidFill>
                  <a:srgbClr val="0000DC"/>
                </a:solidFill>
              </a:rPr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3441844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332000" cy="482022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EB000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3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4670B7C4-AB27-54EF-2A40-00B6C625E1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14" name="Logo MZ CR">
            <a:extLst>
              <a:ext uri="{FF2B5EF4-FFF2-40B4-BE49-F238E27FC236}">
                <a16:creationId xmlns:a16="http://schemas.microsoft.com/office/drawing/2014/main" id="{12DDB624-CABD-E570-8FEB-D9F0D46AD8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9EE83AAC-A4B0-3DA3-A9CA-52C58CE177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8A2CCA56-2A20-BB23-57BA-1FCF8FA571D9}"/>
              </a:ext>
            </a:extLst>
          </p:cNvPr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2132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Obrázek 17">
            <a:extLst>
              <a:ext uri="{FF2B5EF4-FFF2-40B4-BE49-F238E27FC236}">
                <a16:creationId xmlns:a16="http://schemas.microsoft.com/office/drawing/2014/main" id="{81BA1C60-FB7D-CE60-4DCE-1A1ADC10A8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4050" y="129204"/>
            <a:ext cx="554190" cy="554190"/>
          </a:xfrm>
          <a:prstGeom prst="rect">
            <a:avLst/>
          </a:prstGeom>
        </p:spPr>
      </p:pic>
      <p:pic>
        <p:nvPicPr>
          <p:cNvPr id="19" name="Obrázek 18">
            <a:extLst>
              <a:ext uri="{FF2B5EF4-FFF2-40B4-BE49-F238E27FC236}">
                <a16:creationId xmlns:a16="http://schemas.microsoft.com/office/drawing/2014/main" id="{A10DB06F-E226-1255-3762-2DC971AC50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55796" y="174956"/>
            <a:ext cx="513695" cy="508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5337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78055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Městská část Praha 4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85137" y="4992722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631083A4-652D-1553-920E-7783D0472618}"/>
              </a:ext>
            </a:extLst>
          </p:cNvPr>
          <p:cNvGrpSpPr/>
          <p:nvPr userDrawn="1"/>
        </p:nvGrpSpPr>
        <p:grpSpPr>
          <a:xfrm>
            <a:off x="9381600" y="3790800"/>
            <a:ext cx="1270751" cy="2016807"/>
            <a:chOff x="9573906" y="3839890"/>
            <a:chExt cx="1270751" cy="2016807"/>
          </a:xfrm>
        </p:grpSpPr>
        <p:sp>
          <p:nvSpPr>
            <p:cNvPr id="50" name="Rovnoramenný trojúhelník 4">
              <a:extLst>
                <a:ext uri="{FF2B5EF4-FFF2-40B4-BE49-F238E27FC236}">
                  <a16:creationId xmlns:a16="http://schemas.microsoft.com/office/drawing/2014/main" id="{B83AB2B9-3079-2692-DC6E-D88430F6F6AE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51" name="Skupina 50">
              <a:extLst>
                <a:ext uri="{FF2B5EF4-FFF2-40B4-BE49-F238E27FC236}">
                  <a16:creationId xmlns:a16="http://schemas.microsoft.com/office/drawing/2014/main" id="{FE5FC520-ECD2-B6EE-E590-7008E91FC620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52" name="Ovál 22">
                <a:extLst>
                  <a:ext uri="{FF2B5EF4-FFF2-40B4-BE49-F238E27FC236}">
                    <a16:creationId xmlns:a16="http://schemas.microsoft.com/office/drawing/2014/main" id="{8709C7FE-25A8-FF08-CB6E-C4566900FADB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3" name="Ovál 23">
                <a:extLst>
                  <a:ext uri="{FF2B5EF4-FFF2-40B4-BE49-F238E27FC236}">
                    <a16:creationId xmlns:a16="http://schemas.microsoft.com/office/drawing/2014/main" id="{1AEE8359-FC5E-D1F6-C211-46C6B6ED6E80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sp>
        <p:nvSpPr>
          <p:cNvPr id="24" name="Volný tvar: obrazec 23">
            <a:extLst>
              <a:ext uri="{FF2B5EF4-FFF2-40B4-BE49-F238E27FC236}">
                <a16:creationId xmlns:a16="http://schemas.microsoft.com/office/drawing/2014/main" id="{2F6E1DCB-3D4A-17BE-B2C2-7EC4784FBF4A}"/>
              </a:ext>
            </a:extLst>
          </p:cNvPr>
          <p:cNvSpPr>
            <a:spLocks noChangeAspect="1"/>
          </p:cNvSpPr>
          <p:nvPr userDrawn="1"/>
        </p:nvSpPr>
        <p:spPr>
          <a:xfrm>
            <a:off x="9588549" y="5047944"/>
            <a:ext cx="615700" cy="489724"/>
          </a:xfrm>
          <a:custGeom>
            <a:avLst/>
            <a:gdLst>
              <a:gd name="connsiteX0" fmla="*/ 306896 w 335184"/>
              <a:gd name="connsiteY0" fmla="*/ 184880 h 266604"/>
              <a:gd name="connsiteX1" fmla="*/ 307372 w 335184"/>
              <a:gd name="connsiteY1" fmla="*/ 188023 h 266604"/>
              <a:gd name="connsiteX2" fmla="*/ 302609 w 335184"/>
              <a:gd name="connsiteY2" fmla="*/ 188595 h 266604"/>
              <a:gd name="connsiteX3" fmla="*/ 303371 w 335184"/>
              <a:gd name="connsiteY3" fmla="*/ 194881 h 266604"/>
              <a:gd name="connsiteX4" fmla="*/ 300609 w 335184"/>
              <a:gd name="connsiteY4" fmla="*/ 198501 h 266604"/>
              <a:gd name="connsiteX5" fmla="*/ 295084 w 335184"/>
              <a:gd name="connsiteY5" fmla="*/ 192786 h 266604"/>
              <a:gd name="connsiteX6" fmla="*/ 293751 w 335184"/>
              <a:gd name="connsiteY6" fmla="*/ 194500 h 266604"/>
              <a:gd name="connsiteX7" fmla="*/ 292703 w 335184"/>
              <a:gd name="connsiteY7" fmla="*/ 199453 h 266604"/>
              <a:gd name="connsiteX8" fmla="*/ 290798 w 335184"/>
              <a:gd name="connsiteY8" fmla="*/ 196501 h 266604"/>
              <a:gd name="connsiteX9" fmla="*/ 289179 w 335184"/>
              <a:gd name="connsiteY9" fmla="*/ 196691 h 266604"/>
              <a:gd name="connsiteX10" fmla="*/ 293370 w 335184"/>
              <a:gd name="connsiteY10" fmla="*/ 204216 h 266604"/>
              <a:gd name="connsiteX11" fmla="*/ 289179 w 335184"/>
              <a:gd name="connsiteY11" fmla="*/ 209550 h 266604"/>
              <a:gd name="connsiteX12" fmla="*/ 284131 w 335184"/>
              <a:gd name="connsiteY12" fmla="*/ 206978 h 266604"/>
              <a:gd name="connsiteX13" fmla="*/ 279368 w 335184"/>
              <a:gd name="connsiteY13" fmla="*/ 207550 h 266604"/>
              <a:gd name="connsiteX14" fmla="*/ 274225 w 335184"/>
              <a:gd name="connsiteY14" fmla="*/ 205073 h 266604"/>
              <a:gd name="connsiteX15" fmla="*/ 274415 w 335184"/>
              <a:gd name="connsiteY15" fmla="*/ 206597 h 266604"/>
              <a:gd name="connsiteX16" fmla="*/ 272605 w 335184"/>
              <a:gd name="connsiteY16" fmla="*/ 205264 h 266604"/>
              <a:gd name="connsiteX17" fmla="*/ 271272 w 335184"/>
              <a:gd name="connsiteY17" fmla="*/ 206978 h 266604"/>
              <a:gd name="connsiteX18" fmla="*/ 269081 w 335184"/>
              <a:gd name="connsiteY18" fmla="*/ 202501 h 266604"/>
              <a:gd name="connsiteX19" fmla="*/ 269462 w 335184"/>
              <a:gd name="connsiteY19" fmla="*/ 205645 h 266604"/>
              <a:gd name="connsiteX20" fmla="*/ 265938 w 335184"/>
              <a:gd name="connsiteY20" fmla="*/ 202882 h 266604"/>
              <a:gd name="connsiteX21" fmla="*/ 265557 w 335184"/>
              <a:gd name="connsiteY21" fmla="*/ 199739 h 266604"/>
              <a:gd name="connsiteX22" fmla="*/ 264128 w 335184"/>
              <a:gd name="connsiteY22" fmla="*/ 201549 h 266604"/>
              <a:gd name="connsiteX23" fmla="*/ 261366 w 335184"/>
              <a:gd name="connsiteY23" fmla="*/ 192214 h 266604"/>
              <a:gd name="connsiteX24" fmla="*/ 256794 w 335184"/>
              <a:gd name="connsiteY24" fmla="*/ 194405 h 266604"/>
              <a:gd name="connsiteX25" fmla="*/ 256604 w 335184"/>
              <a:gd name="connsiteY25" fmla="*/ 192881 h 266604"/>
              <a:gd name="connsiteX26" fmla="*/ 254889 w 335184"/>
              <a:gd name="connsiteY26" fmla="*/ 191452 h 266604"/>
              <a:gd name="connsiteX27" fmla="*/ 251936 w 335184"/>
              <a:gd name="connsiteY27" fmla="*/ 193453 h 266604"/>
              <a:gd name="connsiteX28" fmla="*/ 251460 w 335184"/>
              <a:gd name="connsiteY28" fmla="*/ 190309 h 266604"/>
              <a:gd name="connsiteX29" fmla="*/ 251270 w 335184"/>
              <a:gd name="connsiteY29" fmla="*/ 188690 h 266604"/>
              <a:gd name="connsiteX30" fmla="*/ 248317 w 335184"/>
              <a:gd name="connsiteY30" fmla="*/ 190690 h 266604"/>
              <a:gd name="connsiteX31" fmla="*/ 249079 w 335184"/>
              <a:gd name="connsiteY31" fmla="*/ 184213 h 266604"/>
              <a:gd name="connsiteX32" fmla="*/ 244602 w 335184"/>
              <a:gd name="connsiteY32" fmla="*/ 186404 h 266604"/>
              <a:gd name="connsiteX33" fmla="*/ 243364 w 335184"/>
              <a:gd name="connsiteY33" fmla="*/ 189738 h 266604"/>
              <a:gd name="connsiteX34" fmla="*/ 243364 w 335184"/>
              <a:gd name="connsiteY34" fmla="*/ 189738 h 266604"/>
              <a:gd name="connsiteX35" fmla="*/ 240411 w 335184"/>
              <a:gd name="connsiteY35" fmla="*/ 191738 h 266604"/>
              <a:gd name="connsiteX36" fmla="*/ 237458 w 335184"/>
              <a:gd name="connsiteY36" fmla="*/ 193643 h 266604"/>
              <a:gd name="connsiteX37" fmla="*/ 238887 w 335184"/>
              <a:gd name="connsiteY37" fmla="*/ 191929 h 266604"/>
              <a:gd name="connsiteX38" fmla="*/ 235744 w 335184"/>
              <a:gd name="connsiteY38" fmla="*/ 192310 h 266604"/>
              <a:gd name="connsiteX39" fmla="*/ 235267 w 335184"/>
              <a:gd name="connsiteY39" fmla="*/ 189166 h 266604"/>
              <a:gd name="connsiteX40" fmla="*/ 233744 w 335184"/>
              <a:gd name="connsiteY40" fmla="*/ 189357 h 266604"/>
              <a:gd name="connsiteX41" fmla="*/ 228791 w 335184"/>
              <a:gd name="connsiteY41" fmla="*/ 188404 h 266604"/>
              <a:gd name="connsiteX42" fmla="*/ 228981 w 335184"/>
              <a:gd name="connsiteY42" fmla="*/ 189928 h 266604"/>
              <a:gd name="connsiteX43" fmla="*/ 226219 w 335184"/>
              <a:gd name="connsiteY43" fmla="*/ 193548 h 266604"/>
              <a:gd name="connsiteX44" fmla="*/ 221551 w 335184"/>
              <a:gd name="connsiteY44" fmla="*/ 194119 h 266604"/>
              <a:gd name="connsiteX45" fmla="*/ 214408 w 335184"/>
              <a:gd name="connsiteY45" fmla="*/ 188595 h 266604"/>
              <a:gd name="connsiteX46" fmla="*/ 211455 w 335184"/>
              <a:gd name="connsiteY46" fmla="*/ 190595 h 266604"/>
              <a:gd name="connsiteX47" fmla="*/ 205359 w 335184"/>
              <a:gd name="connsiteY47" fmla="*/ 192976 h 266604"/>
              <a:gd name="connsiteX48" fmla="*/ 211265 w 335184"/>
              <a:gd name="connsiteY48" fmla="*/ 201835 h 266604"/>
              <a:gd name="connsiteX49" fmla="*/ 203740 w 335184"/>
              <a:gd name="connsiteY49" fmla="*/ 206026 h 266604"/>
              <a:gd name="connsiteX50" fmla="*/ 204216 w 335184"/>
              <a:gd name="connsiteY50" fmla="*/ 209169 h 266604"/>
              <a:gd name="connsiteX51" fmla="*/ 202406 w 335184"/>
              <a:gd name="connsiteY51" fmla="*/ 207740 h 266604"/>
              <a:gd name="connsiteX52" fmla="*/ 200978 w 335184"/>
              <a:gd name="connsiteY52" fmla="*/ 209550 h 266604"/>
              <a:gd name="connsiteX53" fmla="*/ 199644 w 335184"/>
              <a:gd name="connsiteY53" fmla="*/ 211360 h 266604"/>
              <a:gd name="connsiteX54" fmla="*/ 196501 w 335184"/>
              <a:gd name="connsiteY54" fmla="*/ 211741 h 266604"/>
              <a:gd name="connsiteX55" fmla="*/ 195644 w 335184"/>
              <a:gd name="connsiteY55" fmla="*/ 205454 h 266604"/>
              <a:gd name="connsiteX56" fmla="*/ 180308 w 335184"/>
              <a:gd name="connsiteY56" fmla="*/ 210598 h 266604"/>
              <a:gd name="connsiteX57" fmla="*/ 181070 w 335184"/>
              <a:gd name="connsiteY57" fmla="*/ 216884 h 266604"/>
              <a:gd name="connsiteX58" fmla="*/ 182690 w 335184"/>
              <a:gd name="connsiteY58" fmla="*/ 216694 h 266604"/>
              <a:gd name="connsiteX59" fmla="*/ 182880 w 335184"/>
              <a:gd name="connsiteY59" fmla="*/ 218313 h 266604"/>
              <a:gd name="connsiteX60" fmla="*/ 171831 w 335184"/>
              <a:gd name="connsiteY60" fmla="*/ 219646 h 266604"/>
              <a:gd name="connsiteX61" fmla="*/ 172403 w 335184"/>
              <a:gd name="connsiteY61" fmla="*/ 224409 h 266604"/>
              <a:gd name="connsiteX62" fmla="*/ 167354 w 335184"/>
              <a:gd name="connsiteY62" fmla="*/ 221837 h 266604"/>
              <a:gd name="connsiteX63" fmla="*/ 166973 w 335184"/>
              <a:gd name="connsiteY63" fmla="*/ 231553 h 266604"/>
              <a:gd name="connsiteX64" fmla="*/ 164211 w 335184"/>
              <a:gd name="connsiteY64" fmla="*/ 235077 h 266604"/>
              <a:gd name="connsiteX65" fmla="*/ 159258 w 335184"/>
              <a:gd name="connsiteY65" fmla="*/ 234125 h 266604"/>
              <a:gd name="connsiteX66" fmla="*/ 155924 w 335184"/>
              <a:gd name="connsiteY66" fmla="*/ 232981 h 266604"/>
              <a:gd name="connsiteX67" fmla="*/ 152495 w 335184"/>
              <a:gd name="connsiteY67" fmla="*/ 231743 h 266604"/>
              <a:gd name="connsiteX68" fmla="*/ 148400 w 335184"/>
              <a:gd name="connsiteY68" fmla="*/ 237077 h 266604"/>
              <a:gd name="connsiteX69" fmla="*/ 137732 w 335184"/>
              <a:gd name="connsiteY69" fmla="*/ 241649 h 266604"/>
              <a:gd name="connsiteX70" fmla="*/ 133064 w 335184"/>
              <a:gd name="connsiteY70" fmla="*/ 242316 h 266604"/>
              <a:gd name="connsiteX71" fmla="*/ 122111 w 335184"/>
              <a:gd name="connsiteY71" fmla="*/ 232410 h 266604"/>
              <a:gd name="connsiteX72" fmla="*/ 120777 w 335184"/>
              <a:gd name="connsiteY72" fmla="*/ 234220 h 266604"/>
              <a:gd name="connsiteX73" fmla="*/ 116872 w 335184"/>
              <a:gd name="connsiteY73" fmla="*/ 253937 h 266604"/>
              <a:gd name="connsiteX74" fmla="*/ 117634 w 335184"/>
              <a:gd name="connsiteY74" fmla="*/ 260223 h 266604"/>
              <a:gd name="connsiteX75" fmla="*/ 118110 w 335184"/>
              <a:gd name="connsiteY75" fmla="*/ 263462 h 266604"/>
              <a:gd name="connsiteX76" fmla="*/ 118491 w 335184"/>
              <a:gd name="connsiteY76" fmla="*/ 266605 h 266604"/>
              <a:gd name="connsiteX77" fmla="*/ 115157 w 335184"/>
              <a:gd name="connsiteY77" fmla="*/ 265367 h 266604"/>
              <a:gd name="connsiteX78" fmla="*/ 112776 w 335184"/>
              <a:gd name="connsiteY78" fmla="*/ 259271 h 266604"/>
              <a:gd name="connsiteX79" fmla="*/ 107823 w 335184"/>
              <a:gd name="connsiteY79" fmla="*/ 258318 h 266604"/>
              <a:gd name="connsiteX80" fmla="*/ 101917 w 335184"/>
              <a:gd name="connsiteY80" fmla="*/ 262318 h 266604"/>
              <a:gd name="connsiteX81" fmla="*/ 101727 w 335184"/>
              <a:gd name="connsiteY81" fmla="*/ 260699 h 266604"/>
              <a:gd name="connsiteX82" fmla="*/ 101251 w 335184"/>
              <a:gd name="connsiteY82" fmla="*/ 257556 h 266604"/>
              <a:gd name="connsiteX83" fmla="*/ 97917 w 335184"/>
              <a:gd name="connsiteY83" fmla="*/ 256413 h 266604"/>
              <a:gd name="connsiteX84" fmla="*/ 92012 w 335184"/>
              <a:gd name="connsiteY84" fmla="*/ 260318 h 266604"/>
              <a:gd name="connsiteX85" fmla="*/ 91821 w 335184"/>
              <a:gd name="connsiteY85" fmla="*/ 258794 h 266604"/>
              <a:gd name="connsiteX86" fmla="*/ 77438 w 335184"/>
              <a:gd name="connsiteY86" fmla="*/ 258985 h 266604"/>
              <a:gd name="connsiteX87" fmla="*/ 75247 w 335184"/>
              <a:gd name="connsiteY87" fmla="*/ 254413 h 266604"/>
              <a:gd name="connsiteX88" fmla="*/ 69913 w 335184"/>
              <a:gd name="connsiteY88" fmla="*/ 250317 h 266604"/>
              <a:gd name="connsiteX89" fmla="*/ 67913 w 335184"/>
              <a:gd name="connsiteY89" fmla="*/ 247364 h 266604"/>
              <a:gd name="connsiteX90" fmla="*/ 71628 w 335184"/>
              <a:gd name="connsiteY90" fmla="*/ 238887 h 266604"/>
              <a:gd name="connsiteX91" fmla="*/ 74581 w 335184"/>
              <a:gd name="connsiteY91" fmla="*/ 236887 h 266604"/>
              <a:gd name="connsiteX92" fmla="*/ 79724 w 335184"/>
              <a:gd name="connsiteY92" fmla="*/ 239459 h 266604"/>
              <a:gd name="connsiteX93" fmla="*/ 83629 w 335184"/>
              <a:gd name="connsiteY93" fmla="*/ 232505 h 266604"/>
              <a:gd name="connsiteX94" fmla="*/ 83439 w 335184"/>
              <a:gd name="connsiteY94" fmla="*/ 230981 h 266604"/>
              <a:gd name="connsiteX95" fmla="*/ 81725 w 335184"/>
              <a:gd name="connsiteY95" fmla="*/ 229552 h 266604"/>
              <a:gd name="connsiteX96" fmla="*/ 72390 w 335184"/>
              <a:gd name="connsiteY96" fmla="*/ 232315 h 266604"/>
              <a:gd name="connsiteX97" fmla="*/ 70866 w 335184"/>
              <a:gd name="connsiteY97" fmla="*/ 232600 h 266604"/>
              <a:gd name="connsiteX98" fmla="*/ 70675 w 335184"/>
              <a:gd name="connsiteY98" fmla="*/ 230981 h 266604"/>
              <a:gd name="connsiteX99" fmla="*/ 79153 w 335184"/>
              <a:gd name="connsiteY99" fmla="*/ 221837 h 266604"/>
              <a:gd name="connsiteX100" fmla="*/ 78486 w 335184"/>
              <a:gd name="connsiteY100" fmla="*/ 217170 h 266604"/>
              <a:gd name="connsiteX101" fmla="*/ 74962 w 335184"/>
              <a:gd name="connsiteY101" fmla="*/ 214408 h 266604"/>
              <a:gd name="connsiteX102" fmla="*/ 81058 w 335184"/>
              <a:gd name="connsiteY102" fmla="*/ 212026 h 266604"/>
              <a:gd name="connsiteX103" fmla="*/ 75724 w 335184"/>
              <a:gd name="connsiteY103" fmla="*/ 207836 h 266604"/>
              <a:gd name="connsiteX104" fmla="*/ 74104 w 335184"/>
              <a:gd name="connsiteY104" fmla="*/ 208121 h 266604"/>
              <a:gd name="connsiteX105" fmla="*/ 63532 w 335184"/>
              <a:gd name="connsiteY105" fmla="*/ 212693 h 266604"/>
              <a:gd name="connsiteX106" fmla="*/ 61150 w 335184"/>
              <a:gd name="connsiteY106" fmla="*/ 206502 h 266604"/>
              <a:gd name="connsiteX107" fmla="*/ 57912 w 335184"/>
              <a:gd name="connsiteY107" fmla="*/ 206978 h 266604"/>
              <a:gd name="connsiteX108" fmla="*/ 56007 w 335184"/>
              <a:gd name="connsiteY108" fmla="*/ 204025 h 266604"/>
              <a:gd name="connsiteX109" fmla="*/ 52578 w 335184"/>
              <a:gd name="connsiteY109" fmla="*/ 202787 h 266604"/>
              <a:gd name="connsiteX110" fmla="*/ 52388 w 335184"/>
              <a:gd name="connsiteY110" fmla="*/ 201263 h 266604"/>
              <a:gd name="connsiteX111" fmla="*/ 48673 w 335184"/>
              <a:gd name="connsiteY111" fmla="*/ 196882 h 266604"/>
              <a:gd name="connsiteX112" fmla="*/ 51625 w 335184"/>
              <a:gd name="connsiteY112" fmla="*/ 194881 h 266604"/>
              <a:gd name="connsiteX113" fmla="*/ 52007 w 335184"/>
              <a:gd name="connsiteY113" fmla="*/ 185261 h 266604"/>
              <a:gd name="connsiteX114" fmla="*/ 59055 w 335184"/>
              <a:gd name="connsiteY114" fmla="*/ 190786 h 266604"/>
              <a:gd name="connsiteX115" fmla="*/ 63437 w 335184"/>
              <a:gd name="connsiteY115" fmla="*/ 174212 h 266604"/>
              <a:gd name="connsiteX116" fmla="*/ 63246 w 335184"/>
              <a:gd name="connsiteY116" fmla="*/ 172593 h 266604"/>
              <a:gd name="connsiteX117" fmla="*/ 50387 w 335184"/>
              <a:gd name="connsiteY117" fmla="*/ 172593 h 266604"/>
              <a:gd name="connsiteX118" fmla="*/ 43244 w 335184"/>
              <a:gd name="connsiteY118" fmla="*/ 167068 h 266604"/>
              <a:gd name="connsiteX119" fmla="*/ 39719 w 335184"/>
              <a:gd name="connsiteY119" fmla="*/ 164401 h 266604"/>
              <a:gd name="connsiteX120" fmla="*/ 30194 w 335184"/>
              <a:gd name="connsiteY120" fmla="*/ 152781 h 266604"/>
              <a:gd name="connsiteX121" fmla="*/ 30004 w 335184"/>
              <a:gd name="connsiteY121" fmla="*/ 151162 h 266604"/>
              <a:gd name="connsiteX122" fmla="*/ 30766 w 335184"/>
              <a:gd name="connsiteY122" fmla="*/ 144685 h 266604"/>
              <a:gd name="connsiteX123" fmla="*/ 29242 w 335184"/>
              <a:gd name="connsiteY123" fmla="*/ 144875 h 266604"/>
              <a:gd name="connsiteX124" fmla="*/ 31909 w 335184"/>
              <a:gd name="connsiteY124" fmla="*/ 141256 h 266604"/>
              <a:gd name="connsiteX125" fmla="*/ 31528 w 335184"/>
              <a:gd name="connsiteY125" fmla="*/ 138113 h 266604"/>
              <a:gd name="connsiteX126" fmla="*/ 26765 w 335184"/>
              <a:gd name="connsiteY126" fmla="*/ 138779 h 266604"/>
              <a:gd name="connsiteX127" fmla="*/ 26384 w 335184"/>
              <a:gd name="connsiteY127" fmla="*/ 135541 h 266604"/>
              <a:gd name="connsiteX128" fmla="*/ 23241 w 335184"/>
              <a:gd name="connsiteY128" fmla="*/ 136017 h 266604"/>
              <a:gd name="connsiteX129" fmla="*/ 21241 w 335184"/>
              <a:gd name="connsiteY129" fmla="*/ 133064 h 266604"/>
              <a:gd name="connsiteX130" fmla="*/ 16383 w 335184"/>
              <a:gd name="connsiteY130" fmla="*/ 132016 h 266604"/>
              <a:gd name="connsiteX131" fmla="*/ 15716 w 335184"/>
              <a:gd name="connsiteY131" fmla="*/ 127349 h 266604"/>
              <a:gd name="connsiteX132" fmla="*/ 18859 w 335184"/>
              <a:gd name="connsiteY132" fmla="*/ 126873 h 266604"/>
              <a:gd name="connsiteX133" fmla="*/ 23432 w 335184"/>
              <a:gd name="connsiteY133" fmla="*/ 124777 h 266604"/>
              <a:gd name="connsiteX134" fmla="*/ 22384 w 335184"/>
              <a:gd name="connsiteY134" fmla="*/ 116872 h 266604"/>
              <a:gd name="connsiteX135" fmla="*/ 33433 w 335184"/>
              <a:gd name="connsiteY135" fmla="*/ 115443 h 266604"/>
              <a:gd name="connsiteX136" fmla="*/ 37052 w 335184"/>
              <a:gd name="connsiteY136" fmla="*/ 118205 h 266604"/>
              <a:gd name="connsiteX137" fmla="*/ 38195 w 335184"/>
              <a:gd name="connsiteY137" fmla="*/ 114871 h 266604"/>
              <a:gd name="connsiteX138" fmla="*/ 44672 w 335184"/>
              <a:gd name="connsiteY138" fmla="*/ 115633 h 266604"/>
              <a:gd name="connsiteX139" fmla="*/ 44482 w 335184"/>
              <a:gd name="connsiteY139" fmla="*/ 114014 h 266604"/>
              <a:gd name="connsiteX140" fmla="*/ 44291 w 335184"/>
              <a:gd name="connsiteY140" fmla="*/ 112490 h 266604"/>
              <a:gd name="connsiteX141" fmla="*/ 44101 w 335184"/>
              <a:gd name="connsiteY141" fmla="*/ 110871 h 266604"/>
              <a:gd name="connsiteX142" fmla="*/ 40767 w 335184"/>
              <a:gd name="connsiteY142" fmla="*/ 109728 h 266604"/>
              <a:gd name="connsiteX143" fmla="*/ 41910 w 335184"/>
              <a:gd name="connsiteY143" fmla="*/ 106299 h 266604"/>
              <a:gd name="connsiteX144" fmla="*/ 34004 w 335184"/>
              <a:gd name="connsiteY144" fmla="*/ 107347 h 266604"/>
              <a:gd name="connsiteX145" fmla="*/ 33052 w 335184"/>
              <a:gd name="connsiteY145" fmla="*/ 99441 h 266604"/>
              <a:gd name="connsiteX146" fmla="*/ 30099 w 335184"/>
              <a:gd name="connsiteY146" fmla="*/ 101441 h 266604"/>
              <a:gd name="connsiteX147" fmla="*/ 24955 w 335184"/>
              <a:gd name="connsiteY147" fmla="*/ 98869 h 266604"/>
              <a:gd name="connsiteX148" fmla="*/ 23717 w 335184"/>
              <a:gd name="connsiteY148" fmla="*/ 89440 h 266604"/>
              <a:gd name="connsiteX149" fmla="*/ 20193 w 335184"/>
              <a:gd name="connsiteY149" fmla="*/ 86677 h 266604"/>
              <a:gd name="connsiteX150" fmla="*/ 23146 w 335184"/>
              <a:gd name="connsiteY150" fmla="*/ 84677 h 266604"/>
              <a:gd name="connsiteX151" fmla="*/ 19145 w 335184"/>
              <a:gd name="connsiteY151" fmla="*/ 78772 h 266604"/>
              <a:gd name="connsiteX152" fmla="*/ 13049 w 335184"/>
              <a:gd name="connsiteY152" fmla="*/ 81153 h 266604"/>
              <a:gd name="connsiteX153" fmla="*/ 8572 w 335184"/>
              <a:gd name="connsiteY153" fmla="*/ 83344 h 266604"/>
              <a:gd name="connsiteX154" fmla="*/ 4953 w 335184"/>
              <a:gd name="connsiteY154" fmla="*/ 80581 h 266604"/>
              <a:gd name="connsiteX155" fmla="*/ 667 w 335184"/>
              <a:gd name="connsiteY155" fmla="*/ 84296 h 266604"/>
              <a:gd name="connsiteX156" fmla="*/ 191 w 335184"/>
              <a:gd name="connsiteY156" fmla="*/ 81153 h 266604"/>
              <a:gd name="connsiteX157" fmla="*/ 0 w 335184"/>
              <a:gd name="connsiteY157" fmla="*/ 79629 h 266604"/>
              <a:gd name="connsiteX158" fmla="*/ 9334 w 335184"/>
              <a:gd name="connsiteY158" fmla="*/ 76771 h 266604"/>
              <a:gd name="connsiteX159" fmla="*/ 8668 w 335184"/>
              <a:gd name="connsiteY159" fmla="*/ 72104 h 266604"/>
              <a:gd name="connsiteX160" fmla="*/ 10096 w 335184"/>
              <a:gd name="connsiteY160" fmla="*/ 70294 h 266604"/>
              <a:gd name="connsiteX161" fmla="*/ 11811 w 335184"/>
              <a:gd name="connsiteY161" fmla="*/ 71723 h 266604"/>
              <a:gd name="connsiteX162" fmla="*/ 13621 w 335184"/>
              <a:gd name="connsiteY162" fmla="*/ 73057 h 266604"/>
              <a:gd name="connsiteX163" fmla="*/ 21336 w 335184"/>
              <a:gd name="connsiteY163" fmla="*/ 70485 h 266604"/>
              <a:gd name="connsiteX164" fmla="*/ 21146 w 335184"/>
              <a:gd name="connsiteY164" fmla="*/ 68866 h 266604"/>
              <a:gd name="connsiteX165" fmla="*/ 22479 w 335184"/>
              <a:gd name="connsiteY165" fmla="*/ 67151 h 266604"/>
              <a:gd name="connsiteX166" fmla="*/ 22670 w 335184"/>
              <a:gd name="connsiteY166" fmla="*/ 68675 h 266604"/>
              <a:gd name="connsiteX167" fmla="*/ 31813 w 335184"/>
              <a:gd name="connsiteY167" fmla="*/ 64294 h 266604"/>
              <a:gd name="connsiteX168" fmla="*/ 37909 w 335184"/>
              <a:gd name="connsiteY168" fmla="*/ 61913 h 266604"/>
              <a:gd name="connsiteX169" fmla="*/ 41815 w 335184"/>
              <a:gd name="connsiteY169" fmla="*/ 67818 h 266604"/>
              <a:gd name="connsiteX170" fmla="*/ 43244 w 335184"/>
              <a:gd name="connsiteY170" fmla="*/ 66103 h 266604"/>
              <a:gd name="connsiteX171" fmla="*/ 50483 w 335184"/>
              <a:gd name="connsiteY171" fmla="*/ 60388 h 266604"/>
              <a:gd name="connsiteX172" fmla="*/ 48292 w 335184"/>
              <a:gd name="connsiteY172" fmla="*/ 55816 h 266604"/>
              <a:gd name="connsiteX173" fmla="*/ 52864 w 335184"/>
              <a:gd name="connsiteY173" fmla="*/ 53626 h 266604"/>
              <a:gd name="connsiteX174" fmla="*/ 52483 w 335184"/>
              <a:gd name="connsiteY174" fmla="*/ 50482 h 266604"/>
              <a:gd name="connsiteX175" fmla="*/ 57436 w 335184"/>
              <a:gd name="connsiteY175" fmla="*/ 51435 h 266604"/>
              <a:gd name="connsiteX176" fmla="*/ 59150 w 335184"/>
              <a:gd name="connsiteY176" fmla="*/ 52864 h 266604"/>
              <a:gd name="connsiteX177" fmla="*/ 62294 w 335184"/>
              <a:gd name="connsiteY177" fmla="*/ 52388 h 266604"/>
              <a:gd name="connsiteX178" fmla="*/ 62960 w 335184"/>
              <a:gd name="connsiteY178" fmla="*/ 57150 h 266604"/>
              <a:gd name="connsiteX179" fmla="*/ 65342 w 335184"/>
              <a:gd name="connsiteY179" fmla="*/ 63246 h 266604"/>
              <a:gd name="connsiteX180" fmla="*/ 65913 w 335184"/>
              <a:gd name="connsiteY180" fmla="*/ 68008 h 266604"/>
              <a:gd name="connsiteX181" fmla="*/ 72009 w 335184"/>
              <a:gd name="connsiteY181" fmla="*/ 65627 h 266604"/>
              <a:gd name="connsiteX182" fmla="*/ 90011 w 335184"/>
              <a:gd name="connsiteY182" fmla="*/ 68104 h 266604"/>
              <a:gd name="connsiteX183" fmla="*/ 94679 w 335184"/>
              <a:gd name="connsiteY183" fmla="*/ 67532 h 266604"/>
              <a:gd name="connsiteX184" fmla="*/ 90392 w 335184"/>
              <a:gd name="connsiteY184" fmla="*/ 58483 h 266604"/>
              <a:gd name="connsiteX185" fmla="*/ 92678 w 335184"/>
              <a:gd name="connsiteY185" fmla="*/ 51721 h 266604"/>
              <a:gd name="connsiteX186" fmla="*/ 91154 w 335184"/>
              <a:gd name="connsiteY186" fmla="*/ 51911 h 266604"/>
              <a:gd name="connsiteX187" fmla="*/ 90964 w 335184"/>
              <a:gd name="connsiteY187" fmla="*/ 50387 h 266604"/>
              <a:gd name="connsiteX188" fmla="*/ 90107 w 335184"/>
              <a:gd name="connsiteY188" fmla="*/ 44101 h 266604"/>
              <a:gd name="connsiteX189" fmla="*/ 91535 w 335184"/>
              <a:gd name="connsiteY189" fmla="*/ 42291 h 266604"/>
              <a:gd name="connsiteX190" fmla="*/ 91059 w 335184"/>
              <a:gd name="connsiteY190" fmla="*/ 39148 h 266604"/>
              <a:gd name="connsiteX191" fmla="*/ 96393 w 335184"/>
              <a:gd name="connsiteY191" fmla="*/ 30480 h 266604"/>
              <a:gd name="connsiteX192" fmla="*/ 102965 w 335184"/>
              <a:gd name="connsiteY192" fmla="*/ 31242 h 266604"/>
              <a:gd name="connsiteX193" fmla="*/ 108013 w 335184"/>
              <a:gd name="connsiteY193" fmla="*/ 33814 h 266604"/>
              <a:gd name="connsiteX194" fmla="*/ 111252 w 335184"/>
              <a:gd name="connsiteY194" fmla="*/ 33338 h 266604"/>
              <a:gd name="connsiteX195" fmla="*/ 116776 w 335184"/>
              <a:gd name="connsiteY195" fmla="*/ 39052 h 266604"/>
              <a:gd name="connsiteX196" fmla="*/ 121253 w 335184"/>
              <a:gd name="connsiteY196" fmla="*/ 36862 h 266604"/>
              <a:gd name="connsiteX197" fmla="*/ 122301 w 335184"/>
              <a:gd name="connsiteY197" fmla="*/ 32004 h 266604"/>
              <a:gd name="connsiteX198" fmla="*/ 125635 w 335184"/>
              <a:gd name="connsiteY198" fmla="*/ 33147 h 266604"/>
              <a:gd name="connsiteX199" fmla="*/ 136493 w 335184"/>
              <a:gd name="connsiteY199" fmla="*/ 30194 h 266604"/>
              <a:gd name="connsiteX200" fmla="*/ 136493 w 335184"/>
              <a:gd name="connsiteY200" fmla="*/ 30194 h 266604"/>
              <a:gd name="connsiteX201" fmla="*/ 135826 w 335184"/>
              <a:gd name="connsiteY201" fmla="*/ 25432 h 266604"/>
              <a:gd name="connsiteX202" fmla="*/ 140779 w 335184"/>
              <a:gd name="connsiteY202" fmla="*/ 26384 h 266604"/>
              <a:gd name="connsiteX203" fmla="*/ 140017 w 335184"/>
              <a:gd name="connsiteY203" fmla="*/ 20098 h 266604"/>
              <a:gd name="connsiteX204" fmla="*/ 149828 w 335184"/>
              <a:gd name="connsiteY204" fmla="*/ 22003 h 266604"/>
              <a:gd name="connsiteX205" fmla="*/ 162496 w 335184"/>
              <a:gd name="connsiteY205" fmla="*/ 20383 h 266604"/>
              <a:gd name="connsiteX206" fmla="*/ 167259 w 335184"/>
              <a:gd name="connsiteY206" fmla="*/ 19812 h 266604"/>
              <a:gd name="connsiteX207" fmla="*/ 166402 w 335184"/>
              <a:gd name="connsiteY207" fmla="*/ 13525 h 266604"/>
              <a:gd name="connsiteX208" fmla="*/ 168021 w 335184"/>
              <a:gd name="connsiteY208" fmla="*/ 13335 h 266604"/>
              <a:gd name="connsiteX209" fmla="*/ 167354 w 335184"/>
              <a:gd name="connsiteY209" fmla="*/ 8572 h 266604"/>
              <a:gd name="connsiteX210" fmla="*/ 176879 w 335184"/>
              <a:gd name="connsiteY210" fmla="*/ 7334 h 266604"/>
              <a:gd name="connsiteX211" fmla="*/ 176498 w 335184"/>
              <a:gd name="connsiteY211" fmla="*/ 4191 h 266604"/>
              <a:gd name="connsiteX212" fmla="*/ 189452 w 335184"/>
              <a:gd name="connsiteY212" fmla="*/ 5715 h 266604"/>
              <a:gd name="connsiteX213" fmla="*/ 196025 w 335184"/>
              <a:gd name="connsiteY213" fmla="*/ 6572 h 266604"/>
              <a:gd name="connsiteX214" fmla="*/ 197167 w 335184"/>
              <a:gd name="connsiteY214" fmla="*/ 3143 h 266604"/>
              <a:gd name="connsiteX215" fmla="*/ 203645 w 335184"/>
              <a:gd name="connsiteY215" fmla="*/ 3905 h 266604"/>
              <a:gd name="connsiteX216" fmla="*/ 209645 w 335184"/>
              <a:gd name="connsiteY216" fmla="*/ 0 h 266604"/>
              <a:gd name="connsiteX217" fmla="*/ 214503 w 335184"/>
              <a:gd name="connsiteY217" fmla="*/ 952 h 266604"/>
              <a:gd name="connsiteX218" fmla="*/ 214408 w 335184"/>
              <a:gd name="connsiteY218" fmla="*/ 12192 h 266604"/>
              <a:gd name="connsiteX219" fmla="*/ 212788 w 335184"/>
              <a:gd name="connsiteY219" fmla="*/ 12382 h 266604"/>
              <a:gd name="connsiteX220" fmla="*/ 213550 w 335184"/>
              <a:gd name="connsiteY220" fmla="*/ 18764 h 266604"/>
              <a:gd name="connsiteX221" fmla="*/ 217932 w 335184"/>
              <a:gd name="connsiteY221" fmla="*/ 14954 h 266604"/>
              <a:gd name="connsiteX222" fmla="*/ 219932 w 335184"/>
              <a:gd name="connsiteY222" fmla="*/ 17907 h 266604"/>
              <a:gd name="connsiteX223" fmla="*/ 222885 w 335184"/>
              <a:gd name="connsiteY223" fmla="*/ 15907 h 266604"/>
              <a:gd name="connsiteX224" fmla="*/ 224028 w 335184"/>
              <a:gd name="connsiteY224" fmla="*/ 12573 h 266604"/>
              <a:gd name="connsiteX225" fmla="*/ 227838 w 335184"/>
              <a:gd name="connsiteY225" fmla="*/ 16954 h 266604"/>
              <a:gd name="connsiteX226" fmla="*/ 232696 w 335184"/>
              <a:gd name="connsiteY226" fmla="*/ 17907 h 266604"/>
              <a:gd name="connsiteX227" fmla="*/ 235077 w 335184"/>
              <a:gd name="connsiteY227" fmla="*/ 24003 h 266604"/>
              <a:gd name="connsiteX228" fmla="*/ 233744 w 335184"/>
              <a:gd name="connsiteY228" fmla="*/ 25813 h 266604"/>
              <a:gd name="connsiteX229" fmla="*/ 234505 w 335184"/>
              <a:gd name="connsiteY229" fmla="*/ 32099 h 266604"/>
              <a:gd name="connsiteX230" fmla="*/ 237458 w 335184"/>
              <a:gd name="connsiteY230" fmla="*/ 30099 h 266604"/>
              <a:gd name="connsiteX231" fmla="*/ 239268 w 335184"/>
              <a:gd name="connsiteY231" fmla="*/ 31432 h 266604"/>
              <a:gd name="connsiteX232" fmla="*/ 245745 w 335184"/>
              <a:gd name="connsiteY232" fmla="*/ 32290 h 266604"/>
              <a:gd name="connsiteX233" fmla="*/ 249936 w 335184"/>
              <a:gd name="connsiteY233" fmla="*/ 26956 h 266604"/>
              <a:gd name="connsiteX234" fmla="*/ 253079 w 335184"/>
              <a:gd name="connsiteY234" fmla="*/ 26479 h 266604"/>
              <a:gd name="connsiteX235" fmla="*/ 259556 w 335184"/>
              <a:gd name="connsiteY235" fmla="*/ 27241 h 266604"/>
              <a:gd name="connsiteX236" fmla="*/ 255651 w 335184"/>
              <a:gd name="connsiteY236" fmla="*/ 34195 h 266604"/>
              <a:gd name="connsiteX237" fmla="*/ 251079 w 335184"/>
              <a:gd name="connsiteY237" fmla="*/ 36385 h 266604"/>
              <a:gd name="connsiteX238" fmla="*/ 253270 w 335184"/>
              <a:gd name="connsiteY238" fmla="*/ 40957 h 266604"/>
              <a:gd name="connsiteX239" fmla="*/ 253460 w 335184"/>
              <a:gd name="connsiteY239" fmla="*/ 42481 h 266604"/>
              <a:gd name="connsiteX240" fmla="*/ 255937 w 335184"/>
              <a:gd name="connsiteY240" fmla="*/ 48577 h 266604"/>
              <a:gd name="connsiteX241" fmla="*/ 261461 w 335184"/>
              <a:gd name="connsiteY241" fmla="*/ 54292 h 266604"/>
              <a:gd name="connsiteX242" fmla="*/ 261461 w 335184"/>
              <a:gd name="connsiteY242" fmla="*/ 54292 h 266604"/>
              <a:gd name="connsiteX243" fmla="*/ 263366 w 335184"/>
              <a:gd name="connsiteY243" fmla="*/ 57245 h 266604"/>
              <a:gd name="connsiteX244" fmla="*/ 266795 w 335184"/>
              <a:gd name="connsiteY244" fmla="*/ 58483 h 266604"/>
              <a:gd name="connsiteX245" fmla="*/ 274415 w 335184"/>
              <a:gd name="connsiteY245" fmla="*/ 55912 h 266604"/>
              <a:gd name="connsiteX246" fmla="*/ 276225 w 335184"/>
              <a:gd name="connsiteY246" fmla="*/ 57245 h 266604"/>
              <a:gd name="connsiteX247" fmla="*/ 283940 w 335184"/>
              <a:gd name="connsiteY247" fmla="*/ 54673 h 266604"/>
              <a:gd name="connsiteX248" fmla="*/ 284702 w 335184"/>
              <a:gd name="connsiteY248" fmla="*/ 60960 h 266604"/>
              <a:gd name="connsiteX249" fmla="*/ 301085 w 335184"/>
              <a:gd name="connsiteY249" fmla="*/ 63722 h 266604"/>
              <a:gd name="connsiteX250" fmla="*/ 300133 w 335184"/>
              <a:gd name="connsiteY250" fmla="*/ 81439 h 266604"/>
              <a:gd name="connsiteX251" fmla="*/ 305467 w 335184"/>
              <a:gd name="connsiteY251" fmla="*/ 85630 h 266604"/>
              <a:gd name="connsiteX252" fmla="*/ 308420 w 335184"/>
              <a:gd name="connsiteY252" fmla="*/ 83629 h 266604"/>
              <a:gd name="connsiteX253" fmla="*/ 313563 w 335184"/>
              <a:gd name="connsiteY253" fmla="*/ 86201 h 266604"/>
              <a:gd name="connsiteX254" fmla="*/ 323659 w 335184"/>
              <a:gd name="connsiteY254" fmla="*/ 89725 h 266604"/>
              <a:gd name="connsiteX255" fmla="*/ 322326 w 335184"/>
              <a:gd name="connsiteY255" fmla="*/ 91440 h 266604"/>
              <a:gd name="connsiteX256" fmla="*/ 322707 w 335184"/>
              <a:gd name="connsiteY256" fmla="*/ 94583 h 266604"/>
              <a:gd name="connsiteX257" fmla="*/ 322707 w 335184"/>
              <a:gd name="connsiteY257" fmla="*/ 94583 h 266604"/>
              <a:gd name="connsiteX258" fmla="*/ 332804 w 335184"/>
              <a:gd name="connsiteY258" fmla="*/ 98203 h 266604"/>
              <a:gd name="connsiteX259" fmla="*/ 335185 w 335184"/>
              <a:gd name="connsiteY259" fmla="*/ 104299 h 266604"/>
              <a:gd name="connsiteX260" fmla="*/ 329279 w 335184"/>
              <a:gd name="connsiteY260" fmla="*/ 121063 h 266604"/>
              <a:gd name="connsiteX261" fmla="*/ 321374 w 335184"/>
              <a:gd name="connsiteY261" fmla="*/ 122015 h 266604"/>
              <a:gd name="connsiteX262" fmla="*/ 321564 w 335184"/>
              <a:gd name="connsiteY262" fmla="*/ 123634 h 266604"/>
              <a:gd name="connsiteX263" fmla="*/ 309563 w 335184"/>
              <a:gd name="connsiteY263" fmla="*/ 130016 h 266604"/>
              <a:gd name="connsiteX264" fmla="*/ 301657 w 335184"/>
              <a:gd name="connsiteY264" fmla="*/ 130969 h 266604"/>
              <a:gd name="connsiteX265" fmla="*/ 300323 w 335184"/>
              <a:gd name="connsiteY265" fmla="*/ 132778 h 266604"/>
              <a:gd name="connsiteX266" fmla="*/ 300323 w 335184"/>
              <a:gd name="connsiteY266" fmla="*/ 132778 h 266604"/>
              <a:gd name="connsiteX267" fmla="*/ 295561 w 335184"/>
              <a:gd name="connsiteY267" fmla="*/ 133350 h 266604"/>
              <a:gd name="connsiteX268" fmla="*/ 295751 w 335184"/>
              <a:gd name="connsiteY268" fmla="*/ 134969 h 266604"/>
              <a:gd name="connsiteX269" fmla="*/ 290798 w 335184"/>
              <a:gd name="connsiteY269" fmla="*/ 133921 h 266604"/>
              <a:gd name="connsiteX270" fmla="*/ 292799 w 335184"/>
              <a:gd name="connsiteY270" fmla="*/ 136874 h 266604"/>
              <a:gd name="connsiteX271" fmla="*/ 289846 w 335184"/>
              <a:gd name="connsiteY271" fmla="*/ 138874 h 266604"/>
              <a:gd name="connsiteX272" fmla="*/ 288226 w 335184"/>
              <a:gd name="connsiteY272" fmla="*/ 139065 h 266604"/>
              <a:gd name="connsiteX273" fmla="*/ 287655 w 335184"/>
              <a:gd name="connsiteY273" fmla="*/ 147161 h 266604"/>
              <a:gd name="connsiteX274" fmla="*/ 290513 w 335184"/>
              <a:gd name="connsiteY274" fmla="*/ 156496 h 266604"/>
              <a:gd name="connsiteX275" fmla="*/ 294989 w 335184"/>
              <a:gd name="connsiteY275" fmla="*/ 154305 h 266604"/>
              <a:gd name="connsiteX276" fmla="*/ 297371 w 335184"/>
              <a:gd name="connsiteY276" fmla="*/ 147542 h 266604"/>
              <a:gd name="connsiteX277" fmla="*/ 302705 w 335184"/>
              <a:gd name="connsiteY277" fmla="*/ 151733 h 266604"/>
              <a:gd name="connsiteX278" fmla="*/ 306896 w 335184"/>
              <a:gd name="connsiteY278" fmla="*/ 159163 h 266604"/>
              <a:gd name="connsiteX279" fmla="*/ 300514 w 335184"/>
              <a:gd name="connsiteY279" fmla="*/ 160020 h 266604"/>
              <a:gd name="connsiteX280" fmla="*/ 299752 w 335184"/>
              <a:gd name="connsiteY280" fmla="*/ 166497 h 266604"/>
              <a:gd name="connsiteX281" fmla="*/ 303943 w 335184"/>
              <a:gd name="connsiteY281" fmla="*/ 174022 h 266604"/>
              <a:gd name="connsiteX282" fmla="*/ 308134 w 335184"/>
              <a:gd name="connsiteY282" fmla="*/ 181451 h 266604"/>
              <a:gd name="connsiteX283" fmla="*/ 306896 w 335184"/>
              <a:gd name="connsiteY283" fmla="*/ 184880 h 266604"/>
              <a:gd name="connsiteX284" fmla="*/ 306896 w 335184"/>
              <a:gd name="connsiteY284" fmla="*/ 184880 h 266604"/>
              <a:gd name="connsiteX285" fmla="*/ 306896 w 335184"/>
              <a:gd name="connsiteY285" fmla="*/ 184880 h 266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</a:cxnLst>
            <a:rect l="l" t="t" r="r" b="b"/>
            <a:pathLst>
              <a:path w="335184" h="266604">
                <a:moveTo>
                  <a:pt x="306896" y="184880"/>
                </a:moveTo>
                <a:lnTo>
                  <a:pt x="307372" y="188023"/>
                </a:lnTo>
                <a:lnTo>
                  <a:pt x="302609" y="188595"/>
                </a:lnTo>
                <a:lnTo>
                  <a:pt x="303371" y="194881"/>
                </a:lnTo>
                <a:lnTo>
                  <a:pt x="300609" y="198501"/>
                </a:lnTo>
                <a:lnTo>
                  <a:pt x="295084" y="192786"/>
                </a:lnTo>
                <a:lnTo>
                  <a:pt x="293751" y="194500"/>
                </a:lnTo>
                <a:lnTo>
                  <a:pt x="292703" y="199453"/>
                </a:lnTo>
                <a:lnTo>
                  <a:pt x="290798" y="196501"/>
                </a:lnTo>
                <a:lnTo>
                  <a:pt x="289179" y="196691"/>
                </a:lnTo>
                <a:lnTo>
                  <a:pt x="293370" y="204216"/>
                </a:lnTo>
                <a:lnTo>
                  <a:pt x="289179" y="209550"/>
                </a:lnTo>
                <a:lnTo>
                  <a:pt x="284131" y="206978"/>
                </a:lnTo>
                <a:lnTo>
                  <a:pt x="279368" y="207550"/>
                </a:lnTo>
                <a:lnTo>
                  <a:pt x="274225" y="205073"/>
                </a:lnTo>
                <a:lnTo>
                  <a:pt x="274415" y="206597"/>
                </a:lnTo>
                <a:lnTo>
                  <a:pt x="272605" y="205264"/>
                </a:lnTo>
                <a:lnTo>
                  <a:pt x="271272" y="206978"/>
                </a:lnTo>
                <a:lnTo>
                  <a:pt x="269081" y="202501"/>
                </a:lnTo>
                <a:lnTo>
                  <a:pt x="269462" y="205645"/>
                </a:lnTo>
                <a:lnTo>
                  <a:pt x="265938" y="202882"/>
                </a:lnTo>
                <a:lnTo>
                  <a:pt x="265557" y="199739"/>
                </a:lnTo>
                <a:lnTo>
                  <a:pt x="264128" y="201549"/>
                </a:lnTo>
                <a:lnTo>
                  <a:pt x="261366" y="192214"/>
                </a:lnTo>
                <a:lnTo>
                  <a:pt x="256794" y="194405"/>
                </a:lnTo>
                <a:lnTo>
                  <a:pt x="256604" y="192881"/>
                </a:lnTo>
                <a:lnTo>
                  <a:pt x="254889" y="191452"/>
                </a:lnTo>
                <a:lnTo>
                  <a:pt x="251936" y="193453"/>
                </a:lnTo>
                <a:lnTo>
                  <a:pt x="251460" y="190309"/>
                </a:lnTo>
                <a:lnTo>
                  <a:pt x="251270" y="188690"/>
                </a:lnTo>
                <a:lnTo>
                  <a:pt x="248317" y="190690"/>
                </a:lnTo>
                <a:lnTo>
                  <a:pt x="249079" y="184213"/>
                </a:lnTo>
                <a:lnTo>
                  <a:pt x="244602" y="186404"/>
                </a:lnTo>
                <a:lnTo>
                  <a:pt x="243364" y="189738"/>
                </a:lnTo>
                <a:lnTo>
                  <a:pt x="243364" y="189738"/>
                </a:lnTo>
                <a:lnTo>
                  <a:pt x="240411" y="191738"/>
                </a:lnTo>
                <a:lnTo>
                  <a:pt x="237458" y="193643"/>
                </a:lnTo>
                <a:lnTo>
                  <a:pt x="238887" y="191929"/>
                </a:lnTo>
                <a:lnTo>
                  <a:pt x="235744" y="192310"/>
                </a:lnTo>
                <a:lnTo>
                  <a:pt x="235267" y="189166"/>
                </a:lnTo>
                <a:lnTo>
                  <a:pt x="233744" y="189357"/>
                </a:lnTo>
                <a:lnTo>
                  <a:pt x="228791" y="188404"/>
                </a:lnTo>
                <a:lnTo>
                  <a:pt x="228981" y="189928"/>
                </a:lnTo>
                <a:lnTo>
                  <a:pt x="226219" y="193548"/>
                </a:lnTo>
                <a:lnTo>
                  <a:pt x="221551" y="194119"/>
                </a:lnTo>
                <a:lnTo>
                  <a:pt x="214408" y="188595"/>
                </a:lnTo>
                <a:lnTo>
                  <a:pt x="211455" y="190595"/>
                </a:lnTo>
                <a:lnTo>
                  <a:pt x="205359" y="192976"/>
                </a:lnTo>
                <a:lnTo>
                  <a:pt x="211265" y="201835"/>
                </a:lnTo>
                <a:lnTo>
                  <a:pt x="203740" y="206026"/>
                </a:lnTo>
                <a:lnTo>
                  <a:pt x="204216" y="209169"/>
                </a:lnTo>
                <a:lnTo>
                  <a:pt x="202406" y="207740"/>
                </a:lnTo>
                <a:lnTo>
                  <a:pt x="200978" y="209550"/>
                </a:lnTo>
                <a:lnTo>
                  <a:pt x="199644" y="211360"/>
                </a:lnTo>
                <a:lnTo>
                  <a:pt x="196501" y="211741"/>
                </a:lnTo>
                <a:lnTo>
                  <a:pt x="195644" y="205454"/>
                </a:lnTo>
                <a:lnTo>
                  <a:pt x="180308" y="210598"/>
                </a:lnTo>
                <a:lnTo>
                  <a:pt x="181070" y="216884"/>
                </a:lnTo>
                <a:lnTo>
                  <a:pt x="182690" y="216694"/>
                </a:lnTo>
                <a:lnTo>
                  <a:pt x="182880" y="218313"/>
                </a:lnTo>
                <a:lnTo>
                  <a:pt x="171831" y="219646"/>
                </a:lnTo>
                <a:lnTo>
                  <a:pt x="172403" y="224409"/>
                </a:lnTo>
                <a:lnTo>
                  <a:pt x="167354" y="221837"/>
                </a:lnTo>
                <a:lnTo>
                  <a:pt x="166973" y="231553"/>
                </a:lnTo>
                <a:lnTo>
                  <a:pt x="164211" y="235077"/>
                </a:lnTo>
                <a:lnTo>
                  <a:pt x="159258" y="234125"/>
                </a:lnTo>
                <a:lnTo>
                  <a:pt x="155924" y="232981"/>
                </a:lnTo>
                <a:lnTo>
                  <a:pt x="152495" y="231743"/>
                </a:lnTo>
                <a:lnTo>
                  <a:pt x="148400" y="237077"/>
                </a:lnTo>
                <a:lnTo>
                  <a:pt x="137732" y="241649"/>
                </a:lnTo>
                <a:lnTo>
                  <a:pt x="133064" y="242316"/>
                </a:lnTo>
                <a:lnTo>
                  <a:pt x="122111" y="232410"/>
                </a:lnTo>
                <a:lnTo>
                  <a:pt x="120777" y="234220"/>
                </a:lnTo>
                <a:lnTo>
                  <a:pt x="116872" y="253937"/>
                </a:lnTo>
                <a:lnTo>
                  <a:pt x="117634" y="260223"/>
                </a:lnTo>
                <a:lnTo>
                  <a:pt x="118110" y="263462"/>
                </a:lnTo>
                <a:lnTo>
                  <a:pt x="118491" y="266605"/>
                </a:lnTo>
                <a:lnTo>
                  <a:pt x="115157" y="265367"/>
                </a:lnTo>
                <a:lnTo>
                  <a:pt x="112776" y="259271"/>
                </a:lnTo>
                <a:lnTo>
                  <a:pt x="107823" y="258318"/>
                </a:lnTo>
                <a:lnTo>
                  <a:pt x="101917" y="262318"/>
                </a:lnTo>
                <a:lnTo>
                  <a:pt x="101727" y="260699"/>
                </a:lnTo>
                <a:lnTo>
                  <a:pt x="101251" y="257556"/>
                </a:lnTo>
                <a:lnTo>
                  <a:pt x="97917" y="256413"/>
                </a:lnTo>
                <a:lnTo>
                  <a:pt x="92012" y="260318"/>
                </a:lnTo>
                <a:lnTo>
                  <a:pt x="91821" y="258794"/>
                </a:lnTo>
                <a:lnTo>
                  <a:pt x="77438" y="258985"/>
                </a:lnTo>
                <a:lnTo>
                  <a:pt x="75247" y="254413"/>
                </a:lnTo>
                <a:lnTo>
                  <a:pt x="69913" y="250317"/>
                </a:lnTo>
                <a:lnTo>
                  <a:pt x="67913" y="247364"/>
                </a:lnTo>
                <a:lnTo>
                  <a:pt x="71628" y="238887"/>
                </a:lnTo>
                <a:lnTo>
                  <a:pt x="74581" y="236887"/>
                </a:lnTo>
                <a:lnTo>
                  <a:pt x="79724" y="239459"/>
                </a:lnTo>
                <a:lnTo>
                  <a:pt x="83629" y="232505"/>
                </a:lnTo>
                <a:lnTo>
                  <a:pt x="83439" y="230981"/>
                </a:lnTo>
                <a:lnTo>
                  <a:pt x="81725" y="229552"/>
                </a:lnTo>
                <a:lnTo>
                  <a:pt x="72390" y="232315"/>
                </a:lnTo>
                <a:lnTo>
                  <a:pt x="70866" y="232600"/>
                </a:lnTo>
                <a:lnTo>
                  <a:pt x="70675" y="230981"/>
                </a:lnTo>
                <a:lnTo>
                  <a:pt x="79153" y="221837"/>
                </a:lnTo>
                <a:lnTo>
                  <a:pt x="78486" y="217170"/>
                </a:lnTo>
                <a:lnTo>
                  <a:pt x="74962" y="214408"/>
                </a:lnTo>
                <a:lnTo>
                  <a:pt x="81058" y="212026"/>
                </a:lnTo>
                <a:lnTo>
                  <a:pt x="75724" y="207836"/>
                </a:lnTo>
                <a:lnTo>
                  <a:pt x="74104" y="208121"/>
                </a:lnTo>
                <a:lnTo>
                  <a:pt x="63532" y="212693"/>
                </a:lnTo>
                <a:lnTo>
                  <a:pt x="61150" y="206502"/>
                </a:lnTo>
                <a:lnTo>
                  <a:pt x="57912" y="206978"/>
                </a:lnTo>
                <a:lnTo>
                  <a:pt x="56007" y="204025"/>
                </a:lnTo>
                <a:lnTo>
                  <a:pt x="52578" y="202787"/>
                </a:lnTo>
                <a:lnTo>
                  <a:pt x="52388" y="201263"/>
                </a:lnTo>
                <a:lnTo>
                  <a:pt x="48673" y="196882"/>
                </a:lnTo>
                <a:lnTo>
                  <a:pt x="51625" y="194881"/>
                </a:lnTo>
                <a:lnTo>
                  <a:pt x="52007" y="185261"/>
                </a:lnTo>
                <a:lnTo>
                  <a:pt x="59055" y="190786"/>
                </a:lnTo>
                <a:lnTo>
                  <a:pt x="63437" y="174212"/>
                </a:lnTo>
                <a:lnTo>
                  <a:pt x="63246" y="172593"/>
                </a:lnTo>
                <a:lnTo>
                  <a:pt x="50387" y="172593"/>
                </a:lnTo>
                <a:lnTo>
                  <a:pt x="43244" y="167068"/>
                </a:lnTo>
                <a:lnTo>
                  <a:pt x="39719" y="164401"/>
                </a:lnTo>
                <a:lnTo>
                  <a:pt x="30194" y="152781"/>
                </a:lnTo>
                <a:lnTo>
                  <a:pt x="30004" y="151162"/>
                </a:lnTo>
                <a:lnTo>
                  <a:pt x="30766" y="144685"/>
                </a:lnTo>
                <a:lnTo>
                  <a:pt x="29242" y="144875"/>
                </a:lnTo>
                <a:lnTo>
                  <a:pt x="31909" y="141256"/>
                </a:lnTo>
                <a:lnTo>
                  <a:pt x="31528" y="138113"/>
                </a:lnTo>
                <a:lnTo>
                  <a:pt x="26765" y="138779"/>
                </a:lnTo>
                <a:lnTo>
                  <a:pt x="26384" y="135541"/>
                </a:lnTo>
                <a:lnTo>
                  <a:pt x="23241" y="136017"/>
                </a:lnTo>
                <a:lnTo>
                  <a:pt x="21241" y="133064"/>
                </a:lnTo>
                <a:lnTo>
                  <a:pt x="16383" y="132016"/>
                </a:lnTo>
                <a:lnTo>
                  <a:pt x="15716" y="127349"/>
                </a:lnTo>
                <a:lnTo>
                  <a:pt x="18859" y="126873"/>
                </a:lnTo>
                <a:lnTo>
                  <a:pt x="23432" y="124777"/>
                </a:lnTo>
                <a:lnTo>
                  <a:pt x="22384" y="116872"/>
                </a:lnTo>
                <a:lnTo>
                  <a:pt x="33433" y="115443"/>
                </a:lnTo>
                <a:lnTo>
                  <a:pt x="37052" y="118205"/>
                </a:lnTo>
                <a:lnTo>
                  <a:pt x="38195" y="114871"/>
                </a:lnTo>
                <a:lnTo>
                  <a:pt x="44672" y="115633"/>
                </a:lnTo>
                <a:lnTo>
                  <a:pt x="44482" y="114014"/>
                </a:lnTo>
                <a:lnTo>
                  <a:pt x="44291" y="112490"/>
                </a:lnTo>
                <a:lnTo>
                  <a:pt x="44101" y="110871"/>
                </a:lnTo>
                <a:lnTo>
                  <a:pt x="40767" y="109728"/>
                </a:lnTo>
                <a:lnTo>
                  <a:pt x="41910" y="106299"/>
                </a:lnTo>
                <a:lnTo>
                  <a:pt x="34004" y="107347"/>
                </a:lnTo>
                <a:lnTo>
                  <a:pt x="33052" y="99441"/>
                </a:lnTo>
                <a:lnTo>
                  <a:pt x="30099" y="101441"/>
                </a:lnTo>
                <a:lnTo>
                  <a:pt x="24955" y="98869"/>
                </a:lnTo>
                <a:lnTo>
                  <a:pt x="23717" y="89440"/>
                </a:lnTo>
                <a:lnTo>
                  <a:pt x="20193" y="86677"/>
                </a:lnTo>
                <a:lnTo>
                  <a:pt x="23146" y="84677"/>
                </a:lnTo>
                <a:lnTo>
                  <a:pt x="19145" y="78772"/>
                </a:lnTo>
                <a:lnTo>
                  <a:pt x="13049" y="81153"/>
                </a:lnTo>
                <a:lnTo>
                  <a:pt x="8572" y="83344"/>
                </a:lnTo>
                <a:lnTo>
                  <a:pt x="4953" y="80581"/>
                </a:lnTo>
                <a:lnTo>
                  <a:pt x="667" y="84296"/>
                </a:lnTo>
                <a:lnTo>
                  <a:pt x="191" y="81153"/>
                </a:lnTo>
                <a:lnTo>
                  <a:pt x="0" y="79629"/>
                </a:lnTo>
                <a:lnTo>
                  <a:pt x="9334" y="76771"/>
                </a:lnTo>
                <a:lnTo>
                  <a:pt x="8668" y="72104"/>
                </a:lnTo>
                <a:lnTo>
                  <a:pt x="10096" y="70294"/>
                </a:lnTo>
                <a:lnTo>
                  <a:pt x="11811" y="71723"/>
                </a:lnTo>
                <a:lnTo>
                  <a:pt x="13621" y="73057"/>
                </a:lnTo>
                <a:lnTo>
                  <a:pt x="21336" y="70485"/>
                </a:lnTo>
                <a:lnTo>
                  <a:pt x="21146" y="68866"/>
                </a:lnTo>
                <a:lnTo>
                  <a:pt x="22479" y="67151"/>
                </a:lnTo>
                <a:lnTo>
                  <a:pt x="22670" y="68675"/>
                </a:lnTo>
                <a:lnTo>
                  <a:pt x="31813" y="64294"/>
                </a:lnTo>
                <a:lnTo>
                  <a:pt x="37909" y="61913"/>
                </a:lnTo>
                <a:lnTo>
                  <a:pt x="41815" y="67818"/>
                </a:lnTo>
                <a:lnTo>
                  <a:pt x="43244" y="66103"/>
                </a:lnTo>
                <a:lnTo>
                  <a:pt x="50483" y="60388"/>
                </a:lnTo>
                <a:lnTo>
                  <a:pt x="48292" y="55816"/>
                </a:lnTo>
                <a:lnTo>
                  <a:pt x="52864" y="53626"/>
                </a:lnTo>
                <a:lnTo>
                  <a:pt x="52483" y="50482"/>
                </a:lnTo>
                <a:lnTo>
                  <a:pt x="57436" y="51435"/>
                </a:lnTo>
                <a:lnTo>
                  <a:pt x="59150" y="52864"/>
                </a:lnTo>
                <a:lnTo>
                  <a:pt x="62294" y="52388"/>
                </a:lnTo>
                <a:lnTo>
                  <a:pt x="62960" y="57150"/>
                </a:lnTo>
                <a:lnTo>
                  <a:pt x="65342" y="63246"/>
                </a:lnTo>
                <a:lnTo>
                  <a:pt x="65913" y="68008"/>
                </a:lnTo>
                <a:lnTo>
                  <a:pt x="72009" y="65627"/>
                </a:lnTo>
                <a:lnTo>
                  <a:pt x="90011" y="68104"/>
                </a:lnTo>
                <a:lnTo>
                  <a:pt x="94679" y="67532"/>
                </a:lnTo>
                <a:lnTo>
                  <a:pt x="90392" y="58483"/>
                </a:lnTo>
                <a:lnTo>
                  <a:pt x="92678" y="51721"/>
                </a:lnTo>
                <a:lnTo>
                  <a:pt x="91154" y="51911"/>
                </a:lnTo>
                <a:lnTo>
                  <a:pt x="90964" y="50387"/>
                </a:lnTo>
                <a:lnTo>
                  <a:pt x="90107" y="44101"/>
                </a:lnTo>
                <a:lnTo>
                  <a:pt x="91535" y="42291"/>
                </a:lnTo>
                <a:lnTo>
                  <a:pt x="91059" y="39148"/>
                </a:lnTo>
                <a:lnTo>
                  <a:pt x="96393" y="30480"/>
                </a:lnTo>
                <a:lnTo>
                  <a:pt x="102965" y="31242"/>
                </a:lnTo>
                <a:lnTo>
                  <a:pt x="108013" y="33814"/>
                </a:lnTo>
                <a:lnTo>
                  <a:pt x="111252" y="33338"/>
                </a:lnTo>
                <a:lnTo>
                  <a:pt x="116776" y="39052"/>
                </a:lnTo>
                <a:lnTo>
                  <a:pt x="121253" y="36862"/>
                </a:lnTo>
                <a:lnTo>
                  <a:pt x="122301" y="32004"/>
                </a:lnTo>
                <a:lnTo>
                  <a:pt x="125635" y="33147"/>
                </a:lnTo>
                <a:lnTo>
                  <a:pt x="136493" y="30194"/>
                </a:lnTo>
                <a:lnTo>
                  <a:pt x="136493" y="30194"/>
                </a:lnTo>
                <a:lnTo>
                  <a:pt x="135826" y="25432"/>
                </a:lnTo>
                <a:lnTo>
                  <a:pt x="140779" y="26384"/>
                </a:lnTo>
                <a:lnTo>
                  <a:pt x="140017" y="20098"/>
                </a:lnTo>
                <a:lnTo>
                  <a:pt x="149828" y="22003"/>
                </a:lnTo>
                <a:lnTo>
                  <a:pt x="162496" y="20383"/>
                </a:lnTo>
                <a:lnTo>
                  <a:pt x="167259" y="19812"/>
                </a:lnTo>
                <a:lnTo>
                  <a:pt x="166402" y="13525"/>
                </a:lnTo>
                <a:lnTo>
                  <a:pt x="168021" y="13335"/>
                </a:lnTo>
                <a:lnTo>
                  <a:pt x="167354" y="8572"/>
                </a:lnTo>
                <a:lnTo>
                  <a:pt x="176879" y="7334"/>
                </a:lnTo>
                <a:lnTo>
                  <a:pt x="176498" y="4191"/>
                </a:lnTo>
                <a:lnTo>
                  <a:pt x="189452" y="5715"/>
                </a:lnTo>
                <a:lnTo>
                  <a:pt x="196025" y="6572"/>
                </a:lnTo>
                <a:lnTo>
                  <a:pt x="197167" y="3143"/>
                </a:lnTo>
                <a:lnTo>
                  <a:pt x="203645" y="3905"/>
                </a:lnTo>
                <a:lnTo>
                  <a:pt x="209645" y="0"/>
                </a:lnTo>
                <a:lnTo>
                  <a:pt x="214503" y="952"/>
                </a:lnTo>
                <a:lnTo>
                  <a:pt x="214408" y="12192"/>
                </a:lnTo>
                <a:lnTo>
                  <a:pt x="212788" y="12382"/>
                </a:lnTo>
                <a:lnTo>
                  <a:pt x="213550" y="18764"/>
                </a:lnTo>
                <a:lnTo>
                  <a:pt x="217932" y="14954"/>
                </a:lnTo>
                <a:lnTo>
                  <a:pt x="219932" y="17907"/>
                </a:lnTo>
                <a:lnTo>
                  <a:pt x="222885" y="15907"/>
                </a:lnTo>
                <a:lnTo>
                  <a:pt x="224028" y="12573"/>
                </a:lnTo>
                <a:lnTo>
                  <a:pt x="227838" y="16954"/>
                </a:lnTo>
                <a:lnTo>
                  <a:pt x="232696" y="17907"/>
                </a:lnTo>
                <a:lnTo>
                  <a:pt x="235077" y="24003"/>
                </a:lnTo>
                <a:lnTo>
                  <a:pt x="233744" y="25813"/>
                </a:lnTo>
                <a:lnTo>
                  <a:pt x="234505" y="32099"/>
                </a:lnTo>
                <a:lnTo>
                  <a:pt x="237458" y="30099"/>
                </a:lnTo>
                <a:lnTo>
                  <a:pt x="239268" y="31432"/>
                </a:lnTo>
                <a:lnTo>
                  <a:pt x="245745" y="32290"/>
                </a:lnTo>
                <a:lnTo>
                  <a:pt x="249936" y="26956"/>
                </a:lnTo>
                <a:lnTo>
                  <a:pt x="253079" y="26479"/>
                </a:lnTo>
                <a:lnTo>
                  <a:pt x="259556" y="27241"/>
                </a:lnTo>
                <a:lnTo>
                  <a:pt x="255651" y="34195"/>
                </a:lnTo>
                <a:lnTo>
                  <a:pt x="251079" y="36385"/>
                </a:lnTo>
                <a:lnTo>
                  <a:pt x="253270" y="40957"/>
                </a:lnTo>
                <a:lnTo>
                  <a:pt x="253460" y="42481"/>
                </a:lnTo>
                <a:lnTo>
                  <a:pt x="255937" y="48577"/>
                </a:lnTo>
                <a:lnTo>
                  <a:pt x="261461" y="54292"/>
                </a:lnTo>
                <a:lnTo>
                  <a:pt x="261461" y="54292"/>
                </a:lnTo>
                <a:lnTo>
                  <a:pt x="263366" y="57245"/>
                </a:lnTo>
                <a:lnTo>
                  <a:pt x="266795" y="58483"/>
                </a:lnTo>
                <a:lnTo>
                  <a:pt x="274415" y="55912"/>
                </a:lnTo>
                <a:lnTo>
                  <a:pt x="276225" y="57245"/>
                </a:lnTo>
                <a:lnTo>
                  <a:pt x="283940" y="54673"/>
                </a:lnTo>
                <a:lnTo>
                  <a:pt x="284702" y="60960"/>
                </a:lnTo>
                <a:lnTo>
                  <a:pt x="301085" y="63722"/>
                </a:lnTo>
                <a:lnTo>
                  <a:pt x="300133" y="81439"/>
                </a:lnTo>
                <a:lnTo>
                  <a:pt x="305467" y="85630"/>
                </a:lnTo>
                <a:lnTo>
                  <a:pt x="308420" y="83629"/>
                </a:lnTo>
                <a:lnTo>
                  <a:pt x="313563" y="86201"/>
                </a:lnTo>
                <a:lnTo>
                  <a:pt x="323659" y="89725"/>
                </a:lnTo>
                <a:lnTo>
                  <a:pt x="322326" y="91440"/>
                </a:lnTo>
                <a:lnTo>
                  <a:pt x="322707" y="94583"/>
                </a:lnTo>
                <a:lnTo>
                  <a:pt x="322707" y="94583"/>
                </a:lnTo>
                <a:lnTo>
                  <a:pt x="332804" y="98203"/>
                </a:lnTo>
                <a:lnTo>
                  <a:pt x="335185" y="104299"/>
                </a:lnTo>
                <a:lnTo>
                  <a:pt x="329279" y="121063"/>
                </a:lnTo>
                <a:lnTo>
                  <a:pt x="321374" y="122015"/>
                </a:lnTo>
                <a:lnTo>
                  <a:pt x="321564" y="123634"/>
                </a:lnTo>
                <a:lnTo>
                  <a:pt x="309563" y="130016"/>
                </a:lnTo>
                <a:lnTo>
                  <a:pt x="301657" y="130969"/>
                </a:lnTo>
                <a:lnTo>
                  <a:pt x="300323" y="132778"/>
                </a:lnTo>
                <a:lnTo>
                  <a:pt x="300323" y="132778"/>
                </a:lnTo>
                <a:lnTo>
                  <a:pt x="295561" y="133350"/>
                </a:lnTo>
                <a:lnTo>
                  <a:pt x="295751" y="134969"/>
                </a:lnTo>
                <a:lnTo>
                  <a:pt x="290798" y="133921"/>
                </a:lnTo>
                <a:lnTo>
                  <a:pt x="292799" y="136874"/>
                </a:lnTo>
                <a:lnTo>
                  <a:pt x="289846" y="138874"/>
                </a:lnTo>
                <a:lnTo>
                  <a:pt x="288226" y="139065"/>
                </a:lnTo>
                <a:lnTo>
                  <a:pt x="287655" y="147161"/>
                </a:lnTo>
                <a:lnTo>
                  <a:pt x="290513" y="156496"/>
                </a:lnTo>
                <a:lnTo>
                  <a:pt x="294989" y="154305"/>
                </a:lnTo>
                <a:lnTo>
                  <a:pt x="297371" y="147542"/>
                </a:lnTo>
                <a:lnTo>
                  <a:pt x="302705" y="151733"/>
                </a:lnTo>
                <a:lnTo>
                  <a:pt x="306896" y="159163"/>
                </a:lnTo>
                <a:lnTo>
                  <a:pt x="300514" y="160020"/>
                </a:lnTo>
                <a:lnTo>
                  <a:pt x="299752" y="166497"/>
                </a:lnTo>
                <a:lnTo>
                  <a:pt x="303943" y="174022"/>
                </a:lnTo>
                <a:lnTo>
                  <a:pt x="308134" y="181451"/>
                </a:lnTo>
                <a:lnTo>
                  <a:pt x="306896" y="184880"/>
                </a:lnTo>
                <a:lnTo>
                  <a:pt x="306896" y="184880"/>
                </a:lnTo>
                <a:lnTo>
                  <a:pt x="306896" y="184880"/>
                </a:lnTo>
                <a:close/>
              </a:path>
            </a:pathLst>
          </a:custGeom>
          <a:noFill/>
          <a:ln w="1270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cs-CZ"/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9004FD94-93C7-E15D-43F6-48DDE8DC194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604890" y="1534911"/>
            <a:ext cx="5246408" cy="14044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pic>
        <p:nvPicPr>
          <p:cNvPr id="5" name="Obrázek 12">
            <a:extLst>
              <a:ext uri="{FF2B5EF4-FFF2-40B4-BE49-F238E27FC236}">
                <a16:creationId xmlns:a16="http://schemas.microsoft.com/office/drawing/2014/main" id="{A16527A9-04F6-7870-B8CD-1A2C04B5B2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03" r="27128" b="4865"/>
          <a:stretch/>
        </p:blipFill>
        <p:spPr>
          <a:xfrm>
            <a:off x="28000" y="4625000"/>
            <a:ext cx="1319753" cy="1176041"/>
          </a:xfrm>
          <a:prstGeom prst="rect">
            <a:avLst/>
          </a:prstGeom>
        </p:spPr>
      </p:pic>
      <p:pic>
        <p:nvPicPr>
          <p:cNvPr id="6" name="Obrázek 5" descr="cid:image001.jpg@01CED555.8CFAB4A0">
            <a:extLst>
              <a:ext uri="{FF2B5EF4-FFF2-40B4-BE49-F238E27FC236}">
                <a16:creationId xmlns:a16="http://schemas.microsoft.com/office/drawing/2014/main" id="{7BD8D818-C316-D6BF-0ED4-8C5471499CFD}"/>
              </a:ext>
            </a:extLst>
          </p:cNvPr>
          <p:cNvPicPr/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9" descr="logo_mzcr">
            <a:extLst>
              <a:ext uri="{FF2B5EF4-FFF2-40B4-BE49-F238E27FC236}">
                <a16:creationId xmlns:a16="http://schemas.microsoft.com/office/drawing/2014/main" id="{59F9B702-1341-4112-5E08-0347946CED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63D6DAEE-DC8D-4041-DF6B-273B6ED531B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618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54269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73938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FE22DB4-93A5-4D39-A180-4CB22F024A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FB906DD-24DA-4ECF-AA3D-FCC325B3C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41B1462-33CA-4B0C-90DC-0DCC8CEBA2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3D0068-CEC6-46E0-BFE9-6942051C7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C1F572F-9071-4282-BC1A-B524668F7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8819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0AD9E5-E08C-4CAB-A5F9-F9481151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617BB3E-FF8D-442E-97B6-8067255EF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ECF4D5E-1183-45AB-8E9C-7FD2874A39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9D4DE49-771C-490A-BDED-84F1971DC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88DB9D8-26C2-425E-87CD-0EE8FFEE7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8805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5DD8B4D-DDE1-47DD-8286-4CC8FA098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C914A1A-9DD7-4231-B018-F377FD7710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8D2F9BD-8EAE-48E7-A030-EF46F9A1FD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4D75D6-239A-4391-8384-54DCE972D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88F23B3-7A72-4D63-8F6D-440720AD6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32513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77974B-1FFA-4DB6-8A8F-C6D3C5060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51DC174-F8E7-4EAC-A194-2E59D5387B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2EB7FDB-8449-4365-952C-D854D1367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D0A128B-F7A7-4D02-8D71-42D14D61A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0195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BE00FD9-3343-4551-890F-0C34EE841D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383F444-3863-4EC7-B87D-F8CA73407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47F5387-E117-49D5-BB02-BD995E050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01039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9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2208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88" r:id="rId3"/>
    <p:sldLayoutId id="214748368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AB32BF6-713C-4E30-BCDD-2637B3BB5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91A704A-9B47-48B0-A765-F3A2A741EE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29020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5" r:id="rId20"/>
    <p:sldLayoutId id="2147483686" r:id="rId21"/>
    <p:sldLayoutId id="2147483687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chart" Target="../charts/chart1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chart" Target="../charts/chart14.xml"/><Relationship Id="rId2" Type="http://schemas.openxmlformats.org/officeDocument/2006/relationships/tags" Target="../tags/tag39.xml"/><Relationship Id="rId16" Type="http://schemas.openxmlformats.org/officeDocument/2006/relationships/chart" Target="../charts/chart18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chart" Target="../charts/chart13.xml"/><Relationship Id="rId5" Type="http://schemas.openxmlformats.org/officeDocument/2006/relationships/tags" Target="../tags/tag42.xml"/><Relationship Id="rId15" Type="http://schemas.openxmlformats.org/officeDocument/2006/relationships/chart" Target="../charts/chart17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41.xml"/><Relationship Id="rId9" Type="http://schemas.openxmlformats.org/officeDocument/2006/relationships/slideLayout" Target="../slideLayouts/slideLayout2.xml"/><Relationship Id="rId14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notesSlide" Target="../notesSlides/notesSlide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chart" Target="../charts/chart2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chart" Target="../charts/chart19.xml"/><Relationship Id="rId5" Type="http://schemas.openxmlformats.org/officeDocument/2006/relationships/tags" Target="../tags/tag5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chart" Target="../charts/chart2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chart" Target="../charts/chart21.xml"/><Relationship Id="rId5" Type="http://schemas.openxmlformats.org/officeDocument/2006/relationships/tags" Target="../tags/tag6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chart" Target="../charts/chart24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chart" Target="../charts/chart23.xml"/><Relationship Id="rId5" Type="http://schemas.openxmlformats.org/officeDocument/2006/relationships/tags" Target="../tags/tag7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7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chart" Target="../charts/chart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7.png"/><Relationship Id="rId5" Type="http://schemas.openxmlformats.org/officeDocument/2006/relationships/chart" Target="../charts/chart27.xml"/><Relationship Id="rId4" Type="http://schemas.openxmlformats.org/officeDocument/2006/relationships/notesSlide" Target="../notesSlides/notesSlide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chart" Target="../charts/chart28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8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4" Type="http://schemas.openxmlformats.org/officeDocument/2006/relationships/image" Target="../media/image1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chart" Target="../charts/chart30.xml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4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5" Type="http://schemas.openxmlformats.org/officeDocument/2006/relationships/image" Target="../media/image21.png"/><Relationship Id="rId4" Type="http://schemas.openxmlformats.org/officeDocument/2006/relationships/chart" Target="../charts/chart3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chart" Target="../charts/chart32.xml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4" Type="http://schemas.openxmlformats.org/officeDocument/2006/relationships/notesSlide" Target="../notesSlides/notesSlide1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21.xml"/><Relationship Id="rId21" Type="http://schemas.openxmlformats.org/officeDocument/2006/relationships/chart" Target="../charts/chart35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chart" Target="../charts/chart34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chart" Target="../charts/chart37.xml"/><Relationship Id="rId10" Type="http://schemas.openxmlformats.org/officeDocument/2006/relationships/tags" Target="../tags/tag128.xml"/><Relationship Id="rId19" Type="http://schemas.openxmlformats.org/officeDocument/2006/relationships/chart" Target="../charts/chart33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chart" Target="../charts/chart3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26" Type="http://schemas.openxmlformats.org/officeDocument/2006/relationships/chart" Target="../charts/chart42.xml"/><Relationship Id="rId3" Type="http://schemas.openxmlformats.org/officeDocument/2006/relationships/tags" Target="../tags/tag138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chart" Target="../charts/chart41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chart" Target="../charts/chart40.xml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chart" Target="../charts/chart39.xml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chart" Target="../charts/chart38.xml"/><Relationship Id="rId27" Type="http://schemas.openxmlformats.org/officeDocument/2006/relationships/chart" Target="../charts/chart4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30.xml"/><Relationship Id="rId7" Type="http://schemas.openxmlformats.org/officeDocument/2006/relationships/chart" Target="../charts/chart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1349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43DC70F3-3784-4DC1-92D6-E57D8B1BE9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92951" y="532121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na pracovišti 305 – ambulantní psychiatrie, stav k 30. 9. 2023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C394653-2CD1-41B0-B752-DF7D520DF8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117113"/>
              </p:ext>
            </p:extLst>
          </p:nvPr>
        </p:nvGraphicFramePr>
        <p:xfrm>
          <a:off x="434687" y="2938187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A404C8F6-B255-462F-BD13-9127EB780928}"/>
              </a:ext>
            </a:extLst>
          </p:cNvPr>
          <p:cNvSpPr/>
          <p:nvPr/>
        </p:nvSpPr>
        <p:spPr>
          <a:xfrm rot="16200000">
            <a:off x="-256940" y="4466966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3E5D4113-4EA3-4D80-B696-3D808688D6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8982237"/>
              </p:ext>
            </p:extLst>
          </p:nvPr>
        </p:nvGraphicFramePr>
        <p:xfrm>
          <a:off x="6620033" y="2918751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046C3FE0-D10A-4963-B8AF-F6516D8F6032}"/>
              </a:ext>
            </a:extLst>
          </p:cNvPr>
          <p:cNvSpPr/>
          <p:nvPr/>
        </p:nvSpPr>
        <p:spPr>
          <a:xfrm rot="16200000">
            <a:off x="5928407" y="4604462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132E533-4508-423C-B028-F1592B75EC94}"/>
              </a:ext>
            </a:extLst>
          </p:cNvPr>
          <p:cNvSpPr/>
          <p:nvPr/>
        </p:nvSpPr>
        <p:spPr>
          <a:xfrm>
            <a:off x="3890459" y="969818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3225C2D-8D63-4577-A47F-D5A3B59AD0D1}"/>
              </a:ext>
            </a:extLst>
          </p:cNvPr>
          <p:cNvSpPr/>
          <p:nvPr/>
        </p:nvSpPr>
        <p:spPr>
          <a:xfrm>
            <a:off x="5826169" y="969818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5AB86CAD-1A84-496E-9623-A807BB5E6912}"/>
              </a:ext>
            </a:extLst>
          </p:cNvPr>
          <p:cNvSpPr/>
          <p:nvPr/>
        </p:nvSpPr>
        <p:spPr>
          <a:xfrm>
            <a:off x="1486543" y="2749449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38AC1C2-E218-4140-8EC0-FB5E8564FA0D}"/>
              </a:ext>
            </a:extLst>
          </p:cNvPr>
          <p:cNvSpPr/>
          <p:nvPr/>
        </p:nvSpPr>
        <p:spPr>
          <a:xfrm>
            <a:off x="7451795" y="2758593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C81BEA4-0357-40A8-A6D3-F68739F2C7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2404754"/>
              </p:ext>
            </p:extLst>
          </p:nvPr>
        </p:nvGraphicFramePr>
        <p:xfrm>
          <a:off x="2066979" y="895227"/>
          <a:ext cx="7172271" cy="1848330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8 (35,4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70 (64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53138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5 (43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2 (26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37 (32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9 (33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4 (20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3 (24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6941B15D-E99E-6555-AAD2-5F67D2196845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82BB2A1-9FBA-1B2A-18C6-D10F6FE0F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/>
          <a:lstStyle/>
          <a:p>
            <a:r>
              <a:rPr lang="cs-CZ" noProof="0" dirty="0"/>
              <a:t>Ambulantní psychiatři aktivní v roce 2023 podle věku a pohlaví v Praz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90293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C394653-2CD1-41B0-B752-DF7D520DF8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129756"/>
              </p:ext>
            </p:extLst>
          </p:nvPr>
        </p:nvGraphicFramePr>
        <p:xfrm>
          <a:off x="434687" y="2938187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A404C8F6-B255-462F-BD13-9127EB780928}"/>
              </a:ext>
            </a:extLst>
          </p:cNvPr>
          <p:cNvSpPr/>
          <p:nvPr/>
        </p:nvSpPr>
        <p:spPr>
          <a:xfrm rot="16200000">
            <a:off x="-256940" y="4466966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3E5D4113-4EA3-4D80-B696-3D808688D6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1812901"/>
              </p:ext>
            </p:extLst>
          </p:nvPr>
        </p:nvGraphicFramePr>
        <p:xfrm>
          <a:off x="6620033" y="2918751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046C3FE0-D10A-4963-B8AF-F6516D8F6032}"/>
              </a:ext>
            </a:extLst>
          </p:cNvPr>
          <p:cNvSpPr/>
          <p:nvPr/>
        </p:nvSpPr>
        <p:spPr>
          <a:xfrm rot="16200000">
            <a:off x="5928407" y="4604462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132E533-4508-423C-B028-F1592B75EC94}"/>
              </a:ext>
            </a:extLst>
          </p:cNvPr>
          <p:cNvSpPr/>
          <p:nvPr/>
        </p:nvSpPr>
        <p:spPr>
          <a:xfrm>
            <a:off x="3890459" y="969818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3225C2D-8D63-4577-A47F-D5A3B59AD0D1}"/>
              </a:ext>
            </a:extLst>
          </p:cNvPr>
          <p:cNvSpPr/>
          <p:nvPr/>
        </p:nvSpPr>
        <p:spPr>
          <a:xfrm>
            <a:off x="5826169" y="969818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5AB86CAD-1A84-496E-9623-A807BB5E6912}"/>
              </a:ext>
            </a:extLst>
          </p:cNvPr>
          <p:cNvSpPr/>
          <p:nvPr/>
        </p:nvSpPr>
        <p:spPr>
          <a:xfrm>
            <a:off x="1486543" y="2749449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38AC1C2-E218-4140-8EC0-FB5E8564FA0D}"/>
              </a:ext>
            </a:extLst>
          </p:cNvPr>
          <p:cNvSpPr/>
          <p:nvPr/>
        </p:nvSpPr>
        <p:spPr>
          <a:xfrm>
            <a:off x="7451795" y="2758593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C81BEA4-0357-40A8-A6D3-F68739F2C7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661786"/>
              </p:ext>
            </p:extLst>
          </p:nvPr>
        </p:nvGraphicFramePr>
        <p:xfrm>
          <a:off x="2066979" y="895227"/>
          <a:ext cx="7172271" cy="1848330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3 (21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8 (78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53138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 (46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 (37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4 (39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 (23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5 (31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 (29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6941B15D-E99E-6555-AAD2-5F67D2196845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82BB2A1-9FBA-1B2A-18C6-D10F6FE0F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1288038" cy="538364"/>
          </a:xfrm>
        </p:spPr>
        <p:txBody>
          <a:bodyPr/>
          <a:lstStyle/>
          <a:p>
            <a:r>
              <a:rPr lang="cs-CZ" dirty="0"/>
              <a:t>Ambulantní dětští psychiatři </a:t>
            </a:r>
            <a:r>
              <a:rPr lang="cs-CZ" noProof="0" dirty="0"/>
              <a:t>aktivní v roce 2023 dle věku a pohlaví: Praha</a:t>
            </a:r>
            <a:endParaRPr lang="cs-CZ" dirty="0"/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46B8B857-EFFF-3493-E6A2-95F68CCEB48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92951" y="532121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na pracovišti 306 – ambulantní psychiatrie pro děti a dorost, stav k 30. 9. 2023</a:t>
            </a:r>
          </a:p>
        </p:txBody>
      </p:sp>
    </p:spTree>
    <p:extLst>
      <p:ext uri="{BB962C8B-B14F-4D97-AF65-F5344CB8AC3E}">
        <p14:creationId xmlns:p14="http://schemas.microsoft.com/office/powerpoint/2010/main" val="1644352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68A4A2-61F6-30BE-10E0-423E954A942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1474" y="1148270"/>
            <a:ext cx="5733945" cy="1404481"/>
          </a:xfrm>
        </p:spPr>
        <p:txBody>
          <a:bodyPr>
            <a:noAutofit/>
          </a:bodyPr>
          <a:lstStyle/>
          <a:p>
            <a:r>
              <a:rPr lang="cs-CZ" sz="3400" dirty="0"/>
              <a:t>Kapacity vybraných ambulantních profesí v Praze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6316CBC-BD3C-4E7B-9B63-02FEB44CC2BB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372810" y="4545265"/>
            <a:ext cx="6927129" cy="1404480"/>
          </a:xfrm>
        </p:spPr>
        <p:txBody>
          <a:bodyPr/>
          <a:lstStyle/>
          <a:p>
            <a:r>
              <a:rPr lang="cs-CZ" dirty="0"/>
              <a:t>Spádová oblast vybraných ambulantních odborností</a:t>
            </a:r>
          </a:p>
        </p:txBody>
      </p:sp>
    </p:spTree>
    <p:extLst>
      <p:ext uri="{BB962C8B-B14F-4D97-AF65-F5344CB8AC3E}">
        <p14:creationId xmlns:p14="http://schemas.microsoft.com/office/powerpoint/2010/main" val="3755326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060" y="1044512"/>
            <a:ext cx="12027877" cy="4261018"/>
          </a:xfrm>
        </p:spPr>
        <p:txBody>
          <a:bodyPr>
            <a:noAutofit/>
          </a:bodyPr>
          <a:lstStyle/>
          <a:p>
            <a:pPr algn="ctr"/>
            <a:r>
              <a:rPr lang="cs-CZ" sz="4200" dirty="0">
                <a:solidFill>
                  <a:schemeClr val="tx1"/>
                </a:solidFill>
              </a:rPr>
              <a:t>Personální kapacity v Praze mají strategický význam </a:t>
            </a:r>
            <a:br>
              <a:rPr lang="cs-CZ" sz="4200" dirty="0">
                <a:solidFill>
                  <a:schemeClr val="tx1"/>
                </a:solidFill>
              </a:rPr>
            </a:br>
            <a:r>
              <a:rPr lang="cs-CZ" sz="4200" dirty="0">
                <a:solidFill>
                  <a:schemeClr val="tx1"/>
                </a:solidFill>
              </a:rPr>
              <a:t>i pro další regiony, zejména pro Středočeský kraj. </a:t>
            </a:r>
            <a:br>
              <a:rPr lang="cs-CZ" sz="4200" dirty="0">
                <a:solidFill>
                  <a:schemeClr val="tx1"/>
                </a:solidFill>
              </a:rPr>
            </a:br>
            <a:br>
              <a:rPr lang="cs-CZ" sz="4200" dirty="0">
                <a:solidFill>
                  <a:schemeClr val="tx1"/>
                </a:solidFill>
              </a:rPr>
            </a:br>
            <a:r>
              <a:rPr lang="cs-CZ" sz="4200" dirty="0">
                <a:solidFill>
                  <a:schemeClr val="tx1"/>
                </a:solidFill>
              </a:rPr>
              <a:t>Spádová oblast pražského zdravotnictví totiž významně překračuje hranice Prahy, což platí </a:t>
            </a:r>
            <a:br>
              <a:rPr lang="cs-CZ" sz="4200" dirty="0">
                <a:solidFill>
                  <a:schemeClr val="tx1"/>
                </a:solidFill>
              </a:rPr>
            </a:br>
            <a:r>
              <a:rPr lang="cs-CZ" sz="4200" dirty="0">
                <a:solidFill>
                  <a:schemeClr val="tx1"/>
                </a:solidFill>
              </a:rPr>
              <a:t>pro lůžkový i ambulantní segment péče. </a:t>
            </a:r>
            <a:endParaRPr lang="en-US" sz="4200" dirty="0">
              <a:solidFill>
                <a:schemeClr val="tx1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C706F8AF-B7E8-8AB3-F7C8-EC10A9E07ADC}"/>
              </a:ext>
            </a:extLst>
          </p:cNvPr>
          <p:cNvSpPr/>
          <p:nvPr/>
        </p:nvSpPr>
        <p:spPr>
          <a:xfrm>
            <a:off x="5292130" y="4634510"/>
            <a:ext cx="1607736" cy="82396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12109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4AC81F7B-1D89-2821-888F-CCD628F359D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/>
          <a:lstStyle/>
          <a:p>
            <a:r>
              <a:rPr lang="cs-CZ" dirty="0"/>
              <a:t>Zdravotnická zařízení v Praze: ambulance (data 2022)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3F51F64B-30CC-4AD2-88EA-A454FA35AA7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860356"/>
              </p:ext>
            </p:extLst>
          </p:nvPr>
        </p:nvGraphicFramePr>
        <p:xfrm>
          <a:off x="156335" y="1024572"/>
          <a:ext cx="5823409" cy="1527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52D8817-EC50-2748-E8BF-87EA0C05551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3455861"/>
              </p:ext>
            </p:extLst>
          </p:nvPr>
        </p:nvGraphicFramePr>
        <p:xfrm>
          <a:off x="6450472" y="1024572"/>
          <a:ext cx="5294342" cy="1527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10" name="Skupina 9">
            <a:extLst>
              <a:ext uri="{FF2B5EF4-FFF2-40B4-BE49-F238E27FC236}">
                <a16:creationId xmlns:a16="http://schemas.microsoft.com/office/drawing/2014/main" id="{FF53E75A-B96B-49D8-C696-6F7EE2DC303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 rot="16200000">
            <a:off x="9305380" y="4768333"/>
            <a:ext cx="355483" cy="3682650"/>
            <a:chOff x="8055025" y="5054536"/>
            <a:chExt cx="144000" cy="567294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50C3D011-5A2D-4544-6121-EFF952DB65E2}"/>
                </a:ext>
              </a:extLst>
            </p:cNvPr>
            <p:cNvSpPr/>
            <p:nvPr/>
          </p:nvSpPr>
          <p:spPr>
            <a:xfrm>
              <a:off x="8055025" y="5054536"/>
              <a:ext cx="144000" cy="144000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02E1E688-0C6C-D2F5-217E-F3E0593BFD20}"/>
                </a:ext>
              </a:extLst>
            </p:cNvPr>
            <p:cNvSpPr/>
            <p:nvPr/>
          </p:nvSpPr>
          <p:spPr>
            <a:xfrm>
              <a:off x="8055025" y="5266183"/>
              <a:ext cx="144000" cy="144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74E8B616-438E-B0ED-BCFE-75F643916039}"/>
                </a:ext>
              </a:extLst>
            </p:cNvPr>
            <p:cNvSpPr/>
            <p:nvPr/>
          </p:nvSpPr>
          <p:spPr>
            <a:xfrm>
              <a:off x="8055025" y="5477830"/>
              <a:ext cx="144000" cy="14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27D11E1D-EA2B-D132-5AEB-5DAA60B1F155}"/>
              </a:ext>
            </a:extLst>
          </p:cNvPr>
          <p:cNvSpPr txBox="1"/>
          <p:nvPr/>
        </p:nvSpPr>
        <p:spPr>
          <a:xfrm>
            <a:off x="2935171" y="606467"/>
            <a:ext cx="61624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cs-CZ" sz="1600" b="1" i="0" u="none" strike="noStrike" kern="1200" baseline="0" dirty="0">
                <a:solidFill>
                  <a:prstClr val="black"/>
                </a:solidFill>
              </a:rPr>
              <a:t>Počet a bydliště registrovaných osob </a:t>
            </a:r>
            <a:r>
              <a:rPr lang="cs-CZ" sz="1600" b="1" i="0" u="sng" strike="noStrike" kern="1200" baseline="0" dirty="0">
                <a:solidFill>
                  <a:prstClr val="black"/>
                </a:solidFill>
              </a:rPr>
              <a:t>u praktických lékařů</a:t>
            </a:r>
            <a:r>
              <a:rPr lang="cs-CZ" sz="1600" b="1" i="0" u="none" strike="noStrike" kern="1200" baseline="0" dirty="0">
                <a:solidFill>
                  <a:prstClr val="black"/>
                </a:solidFill>
              </a:rPr>
              <a:t> v Praze</a:t>
            </a:r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2B03A39F-2DEA-EB64-32E7-DEA6D7FB6E65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61550366"/>
              </p:ext>
            </p:extLst>
          </p:nvPr>
        </p:nvGraphicFramePr>
        <p:xfrm>
          <a:off x="156335" y="2995003"/>
          <a:ext cx="5823409" cy="1969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09B2AB45-64BF-0307-E361-4590DA3C92A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12087227"/>
              </p:ext>
            </p:extLst>
          </p:nvPr>
        </p:nvGraphicFramePr>
        <p:xfrm>
          <a:off x="6450472" y="2995003"/>
          <a:ext cx="5294342" cy="1969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693DF541-A253-E594-722A-EE05FE633DB2}"/>
              </a:ext>
            </a:extLst>
          </p:cNvPr>
          <p:cNvSpPr txBox="1"/>
          <p:nvPr/>
        </p:nvSpPr>
        <p:spPr>
          <a:xfrm>
            <a:off x="3115540" y="2650149"/>
            <a:ext cx="60697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cs-CZ" sz="1600" b="1" i="0" u="none" strike="noStrike" kern="1200" baseline="0" dirty="0">
                <a:solidFill>
                  <a:prstClr val="black"/>
                </a:solidFill>
              </a:rPr>
              <a:t>Počet a bydliště ošetřených osob </a:t>
            </a:r>
            <a:r>
              <a:rPr lang="cs-CZ" sz="1600" b="1" i="0" u="sng" strike="noStrike" kern="1200" baseline="0" dirty="0">
                <a:solidFill>
                  <a:prstClr val="black"/>
                </a:solidFill>
              </a:rPr>
              <a:t>u ambulantního psychiatra</a:t>
            </a:r>
            <a:r>
              <a:rPr lang="cs-CZ" sz="1600" b="1" i="0" u="none" strike="noStrike" kern="1200" baseline="0" dirty="0">
                <a:solidFill>
                  <a:prstClr val="black"/>
                </a:solidFill>
              </a:rPr>
              <a:t> v Praze</a:t>
            </a:r>
          </a:p>
        </p:txBody>
      </p:sp>
      <p:graphicFrame>
        <p:nvGraphicFramePr>
          <p:cNvPr id="25" name="Graf 24">
            <a:extLst>
              <a:ext uri="{FF2B5EF4-FFF2-40B4-BE49-F238E27FC236}">
                <a16:creationId xmlns:a16="http://schemas.microsoft.com/office/drawing/2014/main" id="{91F1F060-028E-21BA-4B26-B8737660D321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30260959"/>
              </p:ext>
            </p:extLst>
          </p:nvPr>
        </p:nvGraphicFramePr>
        <p:xfrm>
          <a:off x="169531" y="5408438"/>
          <a:ext cx="5823409" cy="9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6" name="Graf 25">
            <a:extLst>
              <a:ext uri="{FF2B5EF4-FFF2-40B4-BE49-F238E27FC236}">
                <a16:creationId xmlns:a16="http://schemas.microsoft.com/office/drawing/2014/main" id="{7A875103-8404-7C55-6332-D5F3834E16BC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97559327"/>
              </p:ext>
            </p:extLst>
          </p:nvPr>
        </p:nvGraphicFramePr>
        <p:xfrm>
          <a:off x="6354630" y="5400623"/>
          <a:ext cx="5294342" cy="942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6959B4CE-C4B5-7BA5-A844-CCCD42A8383E}"/>
              </a:ext>
            </a:extLst>
          </p:cNvPr>
          <p:cNvSpPr txBox="1"/>
          <p:nvPr/>
        </p:nvSpPr>
        <p:spPr>
          <a:xfrm>
            <a:off x="3014764" y="5069883"/>
            <a:ext cx="61624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cs-CZ" sz="1600" b="1" i="0" u="none" strike="noStrike" kern="1200" baseline="0" dirty="0">
                <a:solidFill>
                  <a:prstClr val="black"/>
                </a:solidFill>
              </a:rPr>
              <a:t>Počet a bydliště ošetřených osob </a:t>
            </a:r>
            <a:r>
              <a:rPr lang="cs-CZ" sz="1600" b="1" i="0" u="sng" strike="noStrike" kern="1200" baseline="0" dirty="0">
                <a:solidFill>
                  <a:prstClr val="black"/>
                </a:solidFill>
              </a:rPr>
              <a:t>u </a:t>
            </a:r>
            <a:r>
              <a:rPr lang="en-US" sz="1600" b="1" i="0" u="sng" strike="noStrike" kern="1200" baseline="0" dirty="0" err="1">
                <a:solidFill>
                  <a:prstClr val="black"/>
                </a:solidFill>
              </a:rPr>
              <a:t>stomatologa</a:t>
            </a:r>
            <a:r>
              <a:rPr lang="cs-CZ" sz="1600" b="1" i="0" u="none" strike="noStrike" kern="1200" baseline="0" dirty="0">
                <a:solidFill>
                  <a:prstClr val="black"/>
                </a:solidFill>
              </a:rPr>
              <a:t> v Praze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0B2A21EB-AE8E-6AD5-9B16-9F52CD6A91DD}"/>
              </a:ext>
            </a:extLst>
          </p:cNvPr>
          <p:cNvSpPr txBox="1"/>
          <p:nvPr/>
        </p:nvSpPr>
        <p:spPr>
          <a:xfrm>
            <a:off x="5922056" y="6487511"/>
            <a:ext cx="17047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cs-CZ" sz="1600" b="1" i="0" u="none" strike="noStrike" kern="1200" baseline="0" dirty="0">
                <a:solidFill>
                  <a:prstClr val="black"/>
                </a:solidFill>
              </a:rPr>
              <a:t>Bydliště pacientů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C282CCD-1312-DBC7-E266-DE74F989D9E6}"/>
              </a:ext>
            </a:extLst>
          </p:cNvPr>
          <p:cNvSpPr txBox="1"/>
          <p:nvPr/>
        </p:nvSpPr>
        <p:spPr>
          <a:xfrm>
            <a:off x="7424457" y="6428687"/>
            <a:ext cx="1389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raha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846C9486-F38A-05B7-636C-C761C4EEF058}"/>
              </a:ext>
            </a:extLst>
          </p:cNvPr>
          <p:cNvSpPr txBox="1"/>
          <p:nvPr/>
        </p:nvSpPr>
        <p:spPr>
          <a:xfrm>
            <a:off x="10162389" y="6411780"/>
            <a:ext cx="1389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statní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A18D1F4-2466-25F1-A518-889607C787CE}"/>
              </a:ext>
            </a:extLst>
          </p:cNvPr>
          <p:cNvSpPr txBox="1"/>
          <p:nvPr/>
        </p:nvSpPr>
        <p:spPr>
          <a:xfrm>
            <a:off x="8813778" y="6411780"/>
            <a:ext cx="1389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STČ</a:t>
            </a:r>
          </a:p>
        </p:txBody>
      </p:sp>
    </p:spTree>
    <p:extLst>
      <p:ext uri="{BB962C8B-B14F-4D97-AF65-F5344CB8AC3E}">
        <p14:creationId xmlns:p14="http://schemas.microsoft.com/office/powerpoint/2010/main" val="35714397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68A4A2-61F6-30BE-10E0-423E954A942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1474" y="1148270"/>
            <a:ext cx="5733945" cy="1404481"/>
          </a:xfrm>
        </p:spPr>
        <p:txBody>
          <a:bodyPr>
            <a:noAutofit/>
          </a:bodyPr>
          <a:lstStyle/>
          <a:p>
            <a:r>
              <a:rPr lang="cs-CZ" sz="3400" dirty="0"/>
              <a:t>Kapacity vybraných ambulantních profesí v Praze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6316CBC-BD3C-4E7B-9B63-02FEB44CC2BB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372810" y="4545265"/>
            <a:ext cx="6927129" cy="1404480"/>
          </a:xfrm>
        </p:spPr>
        <p:txBody>
          <a:bodyPr/>
          <a:lstStyle/>
          <a:p>
            <a:r>
              <a:rPr lang="cs-CZ" dirty="0"/>
              <a:t>Počty ambulancí vybraných odborností a jejich časová dynamika </a:t>
            </a:r>
          </a:p>
        </p:txBody>
      </p:sp>
    </p:spTree>
    <p:extLst>
      <p:ext uri="{BB962C8B-B14F-4D97-AF65-F5344CB8AC3E}">
        <p14:creationId xmlns:p14="http://schemas.microsoft.com/office/powerpoint/2010/main" val="6332863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>
            <p:custDataLst>
              <p:tags r:id="rId1"/>
            </p:custDataLst>
          </p:nvPr>
        </p:nvSpPr>
        <p:spPr>
          <a:xfrm>
            <a:off x="828547" y="6474380"/>
            <a:ext cx="109954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IČO+Ruian+Odb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179" y="97710"/>
            <a:ext cx="10515600" cy="631595"/>
          </a:xfrm>
        </p:spPr>
        <p:txBody>
          <a:bodyPr>
            <a:normAutofit/>
          </a:bodyPr>
          <a:lstStyle/>
          <a:p>
            <a:r>
              <a:rPr lang="cs-CZ" dirty="0"/>
              <a:t>Celkové úvazky ambulantních lékařů na 100 tis. obyvatel v r. 2023</a:t>
            </a:r>
            <a:endParaRPr lang="en-US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0BAC4F8-761F-49D1-815E-B334777C6E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014079"/>
              </p:ext>
            </p:extLst>
          </p:nvPr>
        </p:nvGraphicFramePr>
        <p:xfrm>
          <a:off x="828547" y="1526928"/>
          <a:ext cx="4678347" cy="4546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8" name="TextBox 13">
            <a:extLst>
              <a:ext uri="{FF2B5EF4-FFF2-40B4-BE49-F238E27FC236}">
                <a16:creationId xmlns:a16="http://schemas.microsoft.com/office/drawing/2014/main" id="{07D34D5C-C559-4BA3-8EB1-2F75290863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354906" y="1312955"/>
            <a:ext cx="23617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200" b="1"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a 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ů na 100 000 obyvatel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2DFB89F2-832F-4B24-A8DF-54EBA914D41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27018" y="912111"/>
            <a:ext cx="396550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ostatná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inac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ckéh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PL)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Chart 12">
            <a:extLst>
              <a:ext uri="{FF2B5EF4-FFF2-40B4-BE49-F238E27FC236}">
                <a16:creationId xmlns:a16="http://schemas.microsoft.com/office/drawing/2014/main" id="{928588BA-6BDC-4DCF-BEA2-6DF89923786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13333618"/>
              </p:ext>
            </p:extLst>
          </p:nvPr>
        </p:nvGraphicFramePr>
        <p:xfrm>
          <a:off x="6343168" y="1514549"/>
          <a:ext cx="4678347" cy="447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2" name="Rectangle 15">
            <a:extLst>
              <a:ext uri="{FF2B5EF4-FFF2-40B4-BE49-F238E27FC236}">
                <a16:creationId xmlns:a16="http://schemas.microsoft.com/office/drawing/2014/main" id="{87C8F070-13FF-411C-8DF8-DC9786246E0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432075" y="904379"/>
            <a:ext cx="50596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ostatná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inace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aktickéh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 děti a doros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BF16F45-CCE2-448D-B2A8-A7A117FAD4F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57374" y="392794"/>
            <a:ext cx="115346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RHZS, NRZP</a:t>
            </a:r>
          </a:p>
        </p:txBody>
      </p:sp>
      <p:sp>
        <p:nvSpPr>
          <p:cNvPr id="5" name="TextBox 13">
            <a:extLst>
              <a:ext uri="{FF2B5EF4-FFF2-40B4-BE49-F238E27FC236}">
                <a16:creationId xmlns:a16="http://schemas.microsoft.com/office/drawing/2014/main" id="{6E13C584-4C48-A4CF-A067-2DBEC0912EB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898642" y="1308241"/>
            <a:ext cx="33985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200" b="1"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a 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ů na 100 000 obyvatel ve věku 0-19 let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ulka 6">
            <a:extLst>
              <a:ext uri="{FF2B5EF4-FFF2-40B4-BE49-F238E27FC236}">
                <a16:creationId xmlns:a16="http://schemas.microsoft.com/office/drawing/2014/main" id="{7F5A2876-230B-C1B8-87E6-C646588A8C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58283"/>
              </p:ext>
            </p:extLst>
          </p:nvPr>
        </p:nvGraphicFramePr>
        <p:xfrm>
          <a:off x="1253411" y="6049566"/>
          <a:ext cx="3406463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60270">
                  <a:extLst>
                    <a:ext uri="{9D8B030D-6E8A-4147-A177-3AD203B41FA5}">
                      <a16:colId xmlns:a16="http://schemas.microsoft.com/office/drawing/2014/main" val="2311504214"/>
                    </a:ext>
                  </a:extLst>
                </a:gridCol>
                <a:gridCol w="646193">
                  <a:extLst>
                    <a:ext uri="{9D8B030D-6E8A-4147-A177-3AD203B41FA5}">
                      <a16:colId xmlns:a16="http://schemas.microsoft.com/office/drawing/2014/main" val="46041264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cs-CZ" sz="1800" dirty="0"/>
                        <a:t>Praha + Středočeský kraj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800" dirty="0"/>
                        <a:t>50,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275607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503177A-9DCE-88DE-D3CD-1D4DB67499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807317"/>
              </p:ext>
            </p:extLst>
          </p:nvPr>
        </p:nvGraphicFramePr>
        <p:xfrm>
          <a:off x="7219317" y="6019022"/>
          <a:ext cx="3406462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60268">
                  <a:extLst>
                    <a:ext uri="{9D8B030D-6E8A-4147-A177-3AD203B41FA5}">
                      <a16:colId xmlns:a16="http://schemas.microsoft.com/office/drawing/2014/main" val="2311504214"/>
                    </a:ext>
                  </a:extLst>
                </a:gridCol>
                <a:gridCol w="646194">
                  <a:extLst>
                    <a:ext uri="{9D8B030D-6E8A-4147-A177-3AD203B41FA5}">
                      <a16:colId xmlns:a16="http://schemas.microsoft.com/office/drawing/2014/main" val="46041264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cs-CZ" sz="1800" dirty="0"/>
                        <a:t>Praha + Středočeský kraj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800" dirty="0"/>
                        <a:t>81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2756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49530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0179" y="97710"/>
            <a:ext cx="10515600" cy="631595"/>
          </a:xfrm>
        </p:spPr>
        <p:txBody>
          <a:bodyPr>
            <a:normAutofit/>
          </a:bodyPr>
          <a:lstStyle/>
          <a:p>
            <a:r>
              <a:rPr lang="cs-CZ" dirty="0"/>
              <a:t>Celkové úvazky ambulantních lékařů na 100 tis. obyvatel v r. 2023</a:t>
            </a:r>
            <a:endParaRPr lang="en-US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0BAC4F8-761F-49D1-815E-B334777C6EB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003570"/>
              </p:ext>
            </p:extLst>
          </p:nvPr>
        </p:nvGraphicFramePr>
        <p:xfrm>
          <a:off x="828547" y="1526928"/>
          <a:ext cx="4678347" cy="4546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8" name="TextBox 13">
            <a:extLst>
              <a:ext uri="{FF2B5EF4-FFF2-40B4-BE49-F238E27FC236}">
                <a16:creationId xmlns:a16="http://schemas.microsoft.com/office/drawing/2014/main" id="{07D34D5C-C559-4BA3-8EB1-2F75290863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354906" y="1312955"/>
            <a:ext cx="23617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200" b="1"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a 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ů na 100 000 obyvatel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2DFB89F2-832F-4B24-A8DF-54EBA914D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858572" y="912111"/>
            <a:ext cx="25024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prstClr val="black"/>
                </a:solidFill>
                <a:latin typeface="Calibri" panose="020F0502020204030204"/>
              </a:rPr>
              <a:t>Ambulantní stomatologové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Chart 12">
            <a:extLst>
              <a:ext uri="{FF2B5EF4-FFF2-40B4-BE49-F238E27FC236}">
                <a16:creationId xmlns:a16="http://schemas.microsoft.com/office/drawing/2014/main" id="{928588BA-6BDC-4DCF-BEA2-6DF89923786F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18257435"/>
              </p:ext>
            </p:extLst>
          </p:nvPr>
        </p:nvGraphicFramePr>
        <p:xfrm>
          <a:off x="6343168" y="1514549"/>
          <a:ext cx="4678347" cy="447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2" name="Rectangle 15">
            <a:extLst>
              <a:ext uri="{FF2B5EF4-FFF2-40B4-BE49-F238E27FC236}">
                <a16:creationId xmlns:a16="http://schemas.microsoft.com/office/drawing/2014/main" id="{87C8F070-13FF-411C-8DF8-DC9786246E0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933103" y="904379"/>
            <a:ext cx="20576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bulantní psychiatři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BF16F45-CCE2-448D-B2A8-A7A117FAD4F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57374" y="392794"/>
            <a:ext cx="115346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RHZS, NRZP, Výkaz E 2022</a:t>
            </a:r>
          </a:p>
        </p:txBody>
      </p:sp>
      <p:sp>
        <p:nvSpPr>
          <p:cNvPr id="5" name="TextBox 13">
            <a:extLst>
              <a:ext uri="{FF2B5EF4-FFF2-40B4-BE49-F238E27FC236}">
                <a16:creationId xmlns:a16="http://schemas.microsoft.com/office/drawing/2014/main" id="{6E13C584-4C48-A4CF-A067-2DBEC0912E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898642" y="1308241"/>
            <a:ext cx="23617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200" b="1"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a 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ů na 100 000 obyvatel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ulka 6">
            <a:extLst>
              <a:ext uri="{FF2B5EF4-FFF2-40B4-BE49-F238E27FC236}">
                <a16:creationId xmlns:a16="http://schemas.microsoft.com/office/drawing/2014/main" id="{79FE2D5D-99CC-B14F-AC35-0ACC831FE9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526491"/>
              </p:ext>
            </p:extLst>
          </p:nvPr>
        </p:nvGraphicFramePr>
        <p:xfrm>
          <a:off x="953871" y="6007757"/>
          <a:ext cx="3118596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27010">
                  <a:extLst>
                    <a:ext uri="{9D8B030D-6E8A-4147-A177-3AD203B41FA5}">
                      <a16:colId xmlns:a16="http://schemas.microsoft.com/office/drawing/2014/main" val="2311504214"/>
                    </a:ext>
                  </a:extLst>
                </a:gridCol>
                <a:gridCol w="591586">
                  <a:extLst>
                    <a:ext uri="{9D8B030D-6E8A-4147-A177-3AD203B41FA5}">
                      <a16:colId xmlns:a16="http://schemas.microsoft.com/office/drawing/2014/main" val="46041264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cs-CZ" sz="1800" dirty="0"/>
                        <a:t>Praha + Středočeský kraj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800" dirty="0"/>
                        <a:t>80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275607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7F2A15B7-F7B6-E212-DB30-1F1D5D10F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364158"/>
              </p:ext>
            </p:extLst>
          </p:nvPr>
        </p:nvGraphicFramePr>
        <p:xfrm>
          <a:off x="6685108" y="6007858"/>
          <a:ext cx="3215968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05911">
                  <a:extLst>
                    <a:ext uri="{9D8B030D-6E8A-4147-A177-3AD203B41FA5}">
                      <a16:colId xmlns:a16="http://schemas.microsoft.com/office/drawing/2014/main" val="2311504214"/>
                    </a:ext>
                  </a:extLst>
                </a:gridCol>
                <a:gridCol w="610057">
                  <a:extLst>
                    <a:ext uri="{9D8B030D-6E8A-4147-A177-3AD203B41FA5}">
                      <a16:colId xmlns:a16="http://schemas.microsoft.com/office/drawing/2014/main" val="46041264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cs-CZ" sz="1800" dirty="0"/>
                        <a:t>Praha + Středočeský kraj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800" dirty="0"/>
                        <a:t>11,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275607"/>
                  </a:ext>
                </a:extLst>
              </a:tr>
            </a:tbl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E88FBCBD-4F54-E414-BA3A-EBA30E2D100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28547" y="6474380"/>
            <a:ext cx="109954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IČO+Ruian+Odb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37902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0179" y="97710"/>
            <a:ext cx="10515600" cy="631595"/>
          </a:xfrm>
        </p:spPr>
        <p:txBody>
          <a:bodyPr>
            <a:normAutofit/>
          </a:bodyPr>
          <a:lstStyle/>
          <a:p>
            <a:r>
              <a:rPr lang="cs-CZ" dirty="0"/>
              <a:t>Celkové úvazky lékařů a psychologů na 100 tis. obyvatel v r. 2023</a:t>
            </a:r>
            <a:endParaRPr lang="en-US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0BAC4F8-761F-49D1-815E-B334777C6EB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899323"/>
              </p:ext>
            </p:extLst>
          </p:nvPr>
        </p:nvGraphicFramePr>
        <p:xfrm>
          <a:off x="828547" y="1526928"/>
          <a:ext cx="4678347" cy="4546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8" name="TextBox 13">
            <a:extLst>
              <a:ext uri="{FF2B5EF4-FFF2-40B4-BE49-F238E27FC236}">
                <a16:creationId xmlns:a16="http://schemas.microsoft.com/office/drawing/2014/main" id="{07D34D5C-C559-4BA3-8EB1-2F75290863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354906" y="1312955"/>
            <a:ext cx="23617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200" b="1"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a 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ů na 100 000 obyvatel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2DFB89F2-832F-4B24-A8DF-54EBA914D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99319" y="912111"/>
            <a:ext cx="19656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ničtí psychologové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Chart 12">
            <a:extLst>
              <a:ext uri="{FF2B5EF4-FFF2-40B4-BE49-F238E27FC236}">
                <a16:creationId xmlns:a16="http://schemas.microsoft.com/office/drawing/2014/main" id="{928588BA-6BDC-4DCF-BEA2-6DF89923786F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03092047"/>
              </p:ext>
            </p:extLst>
          </p:nvPr>
        </p:nvGraphicFramePr>
        <p:xfrm>
          <a:off x="6343168" y="1514549"/>
          <a:ext cx="4678347" cy="447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2" name="Rectangle 15">
            <a:extLst>
              <a:ext uri="{FF2B5EF4-FFF2-40B4-BE49-F238E27FC236}">
                <a16:creationId xmlns:a16="http://schemas.microsoft.com/office/drawing/2014/main" id="{87C8F070-13FF-411C-8DF8-DC9786246E0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982260" y="903564"/>
            <a:ext cx="24696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ychiatři pro děti a doros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BF16F45-CCE2-448D-B2A8-A7A117FAD4F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57374" y="392794"/>
            <a:ext cx="115346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RHZS, NRZP</a:t>
            </a:r>
          </a:p>
        </p:txBody>
      </p:sp>
      <p:sp>
        <p:nvSpPr>
          <p:cNvPr id="5" name="TextBox 13">
            <a:extLst>
              <a:ext uri="{FF2B5EF4-FFF2-40B4-BE49-F238E27FC236}">
                <a16:creationId xmlns:a16="http://schemas.microsoft.com/office/drawing/2014/main" id="{6E13C584-4C48-A4CF-A067-2DBEC0912E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898642" y="1308241"/>
            <a:ext cx="33985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200" b="1"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a 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vazk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ů na 100 000 obyvatel ve věku 0-19 let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1758BF49-1B26-0E10-A3F2-ED8E52E4AE8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28547" y="6474380"/>
            <a:ext cx="109954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IČO+Ruian+Odb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3528561A-08A0-DECD-67EB-B294DCE287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689647"/>
              </p:ext>
            </p:extLst>
          </p:nvPr>
        </p:nvGraphicFramePr>
        <p:xfrm>
          <a:off x="1160613" y="6093392"/>
          <a:ext cx="3224434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12771">
                  <a:extLst>
                    <a:ext uri="{9D8B030D-6E8A-4147-A177-3AD203B41FA5}">
                      <a16:colId xmlns:a16="http://schemas.microsoft.com/office/drawing/2014/main" val="2311504214"/>
                    </a:ext>
                  </a:extLst>
                </a:gridCol>
                <a:gridCol w="611663">
                  <a:extLst>
                    <a:ext uri="{9D8B030D-6E8A-4147-A177-3AD203B41FA5}">
                      <a16:colId xmlns:a16="http://schemas.microsoft.com/office/drawing/2014/main" val="460412642"/>
                    </a:ext>
                  </a:extLst>
                </a:gridCol>
              </a:tblGrid>
              <a:tr h="190979">
                <a:tc>
                  <a:txBody>
                    <a:bodyPr/>
                    <a:lstStyle/>
                    <a:p>
                      <a:r>
                        <a:rPr lang="cs-CZ" sz="1800" dirty="0"/>
                        <a:t>Praha + Středočeský kraj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800" dirty="0"/>
                        <a:t>13,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275607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5F114B8-A138-0F49-CC42-811DB0F544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112477"/>
              </p:ext>
            </p:extLst>
          </p:nvPr>
        </p:nvGraphicFramePr>
        <p:xfrm>
          <a:off x="6685108" y="5990512"/>
          <a:ext cx="3224434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12771">
                  <a:extLst>
                    <a:ext uri="{9D8B030D-6E8A-4147-A177-3AD203B41FA5}">
                      <a16:colId xmlns:a16="http://schemas.microsoft.com/office/drawing/2014/main" val="2311504214"/>
                    </a:ext>
                  </a:extLst>
                </a:gridCol>
                <a:gridCol w="611663">
                  <a:extLst>
                    <a:ext uri="{9D8B030D-6E8A-4147-A177-3AD203B41FA5}">
                      <a16:colId xmlns:a16="http://schemas.microsoft.com/office/drawing/2014/main" val="46041264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cs-CZ" sz="1800" dirty="0"/>
                        <a:t>Praha + Středočeský kraj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6,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2756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64792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/>
          <a:lstStyle/>
          <a:p>
            <a:r>
              <a:rPr lang="cs-CZ"/>
              <a:t>Suma úvazků lékařů na 100 000 obyvatel</a:t>
            </a:r>
          </a:p>
        </p:txBody>
      </p:sp>
      <p:graphicFrame>
        <p:nvGraphicFramePr>
          <p:cNvPr id="3" name="Chart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93877"/>
              </p:ext>
            </p:extLst>
          </p:nvPr>
        </p:nvGraphicFramePr>
        <p:xfrm>
          <a:off x="569768" y="1797074"/>
          <a:ext cx="11008602" cy="5120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BD85C109-C7BB-59B9-BA99-2CC9E8499B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540000"/>
            <a:ext cx="2575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 30. 9. 2023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6223FD46-5F04-33B0-D874-183622A42D5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848445" y="2789561"/>
            <a:ext cx="44388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Celkem 65,8 úvazku na 28 738 obyvatel</a:t>
            </a: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BF855B4A-7CB5-BDFF-2206-6D1276353846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 flipH="1">
            <a:off x="1182618" y="2958237"/>
            <a:ext cx="55041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051250B9-28A5-26DA-DEF7-1E6B02C390E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3756459"/>
              </p:ext>
            </p:extLst>
          </p:nvPr>
        </p:nvGraphicFramePr>
        <p:xfrm>
          <a:off x="9284718" y="540000"/>
          <a:ext cx="2490822" cy="3293745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693273">
                  <a:extLst>
                    <a:ext uri="{9D8B030D-6E8A-4147-A177-3AD203B41FA5}">
                      <a16:colId xmlns:a16="http://schemas.microsoft.com/office/drawing/2014/main" val="299784009"/>
                    </a:ext>
                  </a:extLst>
                </a:gridCol>
                <a:gridCol w="797549">
                  <a:extLst>
                    <a:ext uri="{9D8B030D-6E8A-4147-A177-3AD203B41FA5}">
                      <a16:colId xmlns:a16="http://schemas.microsoft.com/office/drawing/2014/main" val="31790469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Benešov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45.7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047776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Beroun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39.6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209433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Kladno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43.1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00333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>
                          <a:effectLst/>
                        </a:rPr>
                        <a:t>Kolín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>
                          <a:effectLst/>
                        </a:rPr>
                        <a:t>36.3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444278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Kutná Hora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46.9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41153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Mělník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>
                          <a:effectLst/>
                        </a:rPr>
                        <a:t>37.1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181397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Mladá Boleslav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48.7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831465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Nymburk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41.3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67193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Praha-východ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>
                          <a:effectLst/>
                        </a:rPr>
                        <a:t>33.5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907571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>
                          <a:effectLst/>
                        </a:rPr>
                        <a:t>Praha-západ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29.3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18388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Příbram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47.8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168448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Rakovník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u="none" strike="noStrike" dirty="0">
                          <a:effectLst/>
                        </a:rPr>
                        <a:t>42.5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9387337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dirty="0">
                          <a:effectLst/>
                        </a:rPr>
                        <a:t>STC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effectLst/>
                        </a:rPr>
                        <a:t>40.6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32343060"/>
                  </a:ext>
                </a:extLst>
              </a:tr>
            </a:tbl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3021F6E-DB08-343F-8762-17E8AE6D1C8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184711" y="201446"/>
            <a:ext cx="2575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Okresy Středočeského kraje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DE0FF2B-F8F3-5581-FED0-CF115D409789}"/>
              </a:ext>
            </a:extLst>
          </p:cNvPr>
          <p:cNvSpPr txBox="1"/>
          <p:nvPr/>
        </p:nvSpPr>
        <p:spPr>
          <a:xfrm>
            <a:off x="1182618" y="1153148"/>
            <a:ext cx="61646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2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rgbClr val="D71440"/>
                </a:solidFill>
              </a:rPr>
              <a:t>Všeobecné praktické lékařství</a:t>
            </a:r>
          </a:p>
        </p:txBody>
      </p:sp>
    </p:spTree>
    <p:extLst>
      <p:ext uri="{BB962C8B-B14F-4D97-AF65-F5344CB8AC3E}">
        <p14:creationId xmlns:p14="http://schemas.microsoft.com/office/powerpoint/2010/main" val="983784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68A4A2-61F6-30BE-10E0-423E954A942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1474" y="1148270"/>
            <a:ext cx="5733945" cy="1404481"/>
          </a:xfrm>
        </p:spPr>
        <p:txBody>
          <a:bodyPr>
            <a:noAutofit/>
          </a:bodyPr>
          <a:lstStyle/>
          <a:p>
            <a:r>
              <a:rPr lang="cs-CZ" sz="3400" dirty="0"/>
              <a:t>Kapacity vybraných ambulantních profesí v Praze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6316CBC-BD3C-4E7B-9B63-02FEB44CC2BB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372810" y="4545265"/>
            <a:ext cx="6927129" cy="1404480"/>
          </a:xfrm>
        </p:spPr>
        <p:txBody>
          <a:bodyPr/>
          <a:lstStyle/>
          <a:p>
            <a:r>
              <a:rPr lang="cs-CZ" dirty="0"/>
              <a:t>Úvod </a:t>
            </a:r>
          </a:p>
          <a:p>
            <a:r>
              <a:rPr lang="cs-CZ" dirty="0"/>
              <a:t>Demografické determinanty vývoje</a:t>
            </a:r>
          </a:p>
        </p:txBody>
      </p:sp>
    </p:spTree>
    <p:extLst>
      <p:ext uri="{BB962C8B-B14F-4D97-AF65-F5344CB8AC3E}">
        <p14:creationId xmlns:p14="http://schemas.microsoft.com/office/powerpoint/2010/main" val="10578535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/>
          <a:lstStyle/>
          <a:p>
            <a:r>
              <a:rPr lang="cs-CZ"/>
              <a:t>Suma úvazků lékařů na 100 000 obyvatel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D85C109-C7BB-59B9-BA99-2CC9E8499B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40000"/>
            <a:ext cx="2575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 30. 9. 2023</a:t>
            </a:r>
          </a:p>
        </p:txBody>
      </p:sp>
      <p:graphicFrame>
        <p:nvGraphicFramePr>
          <p:cNvPr id="5" name="Chart 2">
            <a:extLst>
              <a:ext uri="{FF2B5EF4-FFF2-40B4-BE49-F238E27FC236}">
                <a16:creationId xmlns:a16="http://schemas.microsoft.com/office/drawing/2014/main" id="{0D2D096F-9172-02C2-A33D-B1AE322C520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7897780"/>
              </p:ext>
            </p:extLst>
          </p:nvPr>
        </p:nvGraphicFramePr>
        <p:xfrm>
          <a:off x="732700" y="1617133"/>
          <a:ext cx="10726599" cy="517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18D1214F-EE89-A229-75E7-D71AF1E032B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34434899"/>
              </p:ext>
            </p:extLst>
          </p:nvPr>
        </p:nvGraphicFramePr>
        <p:xfrm>
          <a:off x="9133778" y="283276"/>
          <a:ext cx="2770222" cy="3293745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883210">
                  <a:extLst>
                    <a:ext uri="{9D8B030D-6E8A-4147-A177-3AD203B41FA5}">
                      <a16:colId xmlns:a16="http://schemas.microsoft.com/office/drawing/2014/main" val="299784009"/>
                    </a:ext>
                  </a:extLst>
                </a:gridCol>
                <a:gridCol w="887012">
                  <a:extLst>
                    <a:ext uri="{9D8B030D-6E8A-4147-A177-3AD203B41FA5}">
                      <a16:colId xmlns:a16="http://schemas.microsoft.com/office/drawing/2014/main" val="31790469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047776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209433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00333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í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444278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41153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181397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831465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67193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výcho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907571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18388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168448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ovní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9387337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32343060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F1D876A-879A-6B3A-4DDC-8E1C0F5785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50732" y="0"/>
            <a:ext cx="27702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Okresy Středočeského kraje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E60308DA-22E6-54CA-987A-ED13C760BAAE}"/>
              </a:ext>
            </a:extLst>
          </p:cNvPr>
          <p:cNvSpPr txBox="1"/>
          <p:nvPr/>
        </p:nvSpPr>
        <p:spPr>
          <a:xfrm>
            <a:off x="1223388" y="1089019"/>
            <a:ext cx="61646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2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rgbClr val="D71440"/>
                </a:solidFill>
              </a:rPr>
              <a:t>Praktické lékařství pro děti a dorost</a:t>
            </a:r>
          </a:p>
        </p:txBody>
      </p:sp>
    </p:spTree>
    <p:extLst>
      <p:ext uri="{BB962C8B-B14F-4D97-AF65-F5344CB8AC3E}">
        <p14:creationId xmlns:p14="http://schemas.microsoft.com/office/powerpoint/2010/main" val="3290154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EC6C51A-E885-5504-6EE2-326C81D86A82}"/>
              </a:ext>
            </a:extLst>
          </p:cNvPr>
          <p:cNvSpPr txBox="1"/>
          <p:nvPr/>
        </p:nvSpPr>
        <p:spPr>
          <a:xfrm>
            <a:off x="288000" y="828000"/>
            <a:ext cx="5093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BE2E028-01A0-2A4E-1A07-30C3A58C6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en-US" sz="2400" dirty="0" err="1"/>
              <a:t>Dynamika</a:t>
            </a:r>
            <a:r>
              <a:rPr lang="en-US" sz="2400" dirty="0"/>
              <a:t> </a:t>
            </a:r>
            <a:r>
              <a:rPr lang="en-US" sz="2400" dirty="0" err="1"/>
              <a:t>počtu</a:t>
            </a:r>
            <a:r>
              <a:rPr lang="en-US" sz="2400" dirty="0"/>
              <a:t> </a:t>
            </a:r>
            <a:r>
              <a:rPr lang="cs-CZ" sz="2400" dirty="0"/>
              <a:t>samostatných </a:t>
            </a:r>
            <a:r>
              <a:rPr lang="en-US" sz="2400" dirty="0" err="1"/>
              <a:t>ordinací</a:t>
            </a:r>
            <a:r>
              <a:rPr lang="en-US" sz="2400" dirty="0"/>
              <a:t> </a:t>
            </a:r>
            <a:r>
              <a:rPr lang="en-US" sz="2400" dirty="0" err="1"/>
              <a:t>praktických</a:t>
            </a:r>
            <a:r>
              <a:rPr lang="en-US" sz="2400" dirty="0"/>
              <a:t> </a:t>
            </a:r>
            <a:r>
              <a:rPr lang="en-US" sz="2400" dirty="0" err="1"/>
              <a:t>lékařů</a:t>
            </a:r>
            <a:r>
              <a:rPr lang="en-US" sz="2400" dirty="0"/>
              <a:t> pro </a:t>
            </a:r>
            <a:r>
              <a:rPr lang="en-US" sz="2400" dirty="0" err="1"/>
              <a:t>dospělé</a:t>
            </a:r>
            <a:r>
              <a:rPr lang="cs-CZ" sz="2400" dirty="0"/>
              <a:t> </a:t>
            </a:r>
            <a:br>
              <a:rPr lang="cs-CZ" sz="2400" dirty="0"/>
            </a:br>
            <a:r>
              <a:rPr lang="cs-CZ" sz="2400" dirty="0"/>
              <a:t>v letech 2018-2023</a:t>
            </a:r>
            <a:r>
              <a:rPr lang="en-US" sz="2400" dirty="0"/>
              <a:t> </a:t>
            </a:r>
          </a:p>
        </p:txBody>
      </p:sp>
      <p:sp>
        <p:nvSpPr>
          <p:cNvPr id="15" name="TextBox 66">
            <a:extLst>
              <a:ext uri="{FF2B5EF4-FFF2-40B4-BE49-F238E27FC236}">
                <a16:creationId xmlns:a16="http://schemas.microsoft.com/office/drawing/2014/main" id="{F9A1F8DF-7029-3BA6-C1EC-0C4236A36B49}"/>
              </a:ext>
            </a:extLst>
          </p:cNvPr>
          <p:cNvSpPr txBox="1"/>
          <p:nvPr/>
        </p:nvSpPr>
        <p:spPr>
          <a:xfrm>
            <a:off x="1775889" y="1235116"/>
            <a:ext cx="3414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LD v letech 2018-2023</a:t>
            </a:r>
          </a:p>
        </p:txBody>
      </p:sp>
      <p:graphicFrame>
        <p:nvGraphicFramePr>
          <p:cNvPr id="16" name="Table 65">
            <a:extLst>
              <a:ext uri="{FF2B5EF4-FFF2-40B4-BE49-F238E27FC236}">
                <a16:creationId xmlns:a16="http://schemas.microsoft.com/office/drawing/2014/main" id="{2F97BB52-AF3D-BD50-B4C9-B274BA8984C8}"/>
              </a:ext>
            </a:extLst>
          </p:cNvPr>
          <p:cNvGraphicFramePr>
            <a:graphicFrameLocks noGrp="1"/>
          </p:cNvGraphicFramePr>
          <p:nvPr/>
        </p:nvGraphicFramePr>
        <p:xfrm>
          <a:off x="1270355" y="1679656"/>
          <a:ext cx="3859964" cy="3851559"/>
        </p:xfrm>
        <a:graphic>
          <a:graphicData uri="http://schemas.openxmlformats.org/drawingml/2006/table">
            <a:tbl>
              <a:tblPr/>
              <a:tblGrid>
                <a:gridCol w="3297142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34090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28732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19" name="Chart 6">
            <a:extLst>
              <a:ext uri="{FF2B5EF4-FFF2-40B4-BE49-F238E27FC236}">
                <a16:creationId xmlns:a16="http://schemas.microsoft.com/office/drawing/2014/main" id="{05971265-743C-83BF-4DBC-1D3CD37B606F}"/>
              </a:ext>
            </a:extLst>
          </p:cNvPr>
          <p:cNvGraphicFramePr/>
          <p:nvPr/>
        </p:nvGraphicFramePr>
        <p:xfrm>
          <a:off x="1197904" y="1579474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Box 8">
            <a:extLst>
              <a:ext uri="{FF2B5EF4-FFF2-40B4-BE49-F238E27FC236}">
                <a16:creationId xmlns:a16="http://schemas.microsoft.com/office/drawing/2014/main" id="{8E411F3A-D249-EA8E-C693-84495523C47A}"/>
              </a:ext>
            </a:extLst>
          </p:cNvPr>
          <p:cNvSpPr txBox="1"/>
          <p:nvPr/>
        </p:nvSpPr>
        <p:spPr>
          <a:xfrm>
            <a:off x="1184123" y="4282345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B23C657A-DCBE-3634-4AA4-44ECA6E5D338}"/>
              </a:ext>
            </a:extLst>
          </p:cNvPr>
          <p:cNvSpPr txBox="1"/>
          <p:nvPr/>
        </p:nvSpPr>
        <p:spPr>
          <a:xfrm>
            <a:off x="1186894" y="1666611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pic>
        <p:nvPicPr>
          <p:cNvPr id="22" name="Obrázek 21" descr="Obsah obrázku mapa&#10;&#10;Popis byl vytvořen automaticky">
            <a:extLst>
              <a:ext uri="{FF2B5EF4-FFF2-40B4-BE49-F238E27FC236}">
                <a16:creationId xmlns:a16="http://schemas.microsoft.com/office/drawing/2014/main" id="{5713003C-4DF7-6D99-DC3B-07424053A3E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769" y="1635494"/>
            <a:ext cx="6027406" cy="3851559"/>
          </a:xfrm>
          <a:prstGeom prst="rect">
            <a:avLst/>
          </a:prstGeom>
        </p:spPr>
      </p:pic>
      <p:sp>
        <p:nvSpPr>
          <p:cNvPr id="23" name="TextBox 10">
            <a:extLst>
              <a:ext uri="{FF2B5EF4-FFF2-40B4-BE49-F238E27FC236}">
                <a16:creationId xmlns:a16="http://schemas.microsoft.com/office/drawing/2014/main" id="{EDD88C53-59D8-1386-ED79-568935617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247627" y="1311233"/>
            <a:ext cx="54201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rušených míst poskytování 2018 – 2023 </a:t>
            </a:r>
          </a:p>
        </p:txBody>
      </p:sp>
      <p:graphicFrame>
        <p:nvGraphicFramePr>
          <p:cNvPr id="24" name="Table 11">
            <a:extLst>
              <a:ext uri="{FF2B5EF4-FFF2-40B4-BE49-F238E27FC236}">
                <a16:creationId xmlns:a16="http://schemas.microsoft.com/office/drawing/2014/main" id="{80A5B101-F6AB-B0D8-6D4D-0D35CFCF2D90}"/>
              </a:ext>
            </a:extLst>
          </p:cNvPr>
          <p:cNvGraphicFramePr>
            <a:graphicFrameLocks noGrp="1"/>
          </p:cNvGraphicFramePr>
          <p:nvPr/>
        </p:nvGraphicFramePr>
        <p:xfrm>
          <a:off x="3731814" y="5587235"/>
          <a:ext cx="6168877" cy="880646"/>
        </p:xfrm>
        <a:graphic>
          <a:graphicData uri="http://schemas.openxmlformats.org/drawingml/2006/table">
            <a:tbl>
              <a:tblPr/>
              <a:tblGrid>
                <a:gridCol w="2466753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1000724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1350700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1350700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421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4594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2200" b="1" u="none" strike="noStrike" dirty="0">
                          <a:effectLst/>
                        </a:rPr>
                        <a:t>Celá ČR 2018-2023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97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1472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769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74501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 descr="Obsah obrázku mapa, text, atlas&#10;&#10;Popis byl vytvořen automaticky">
            <a:extLst>
              <a:ext uri="{FF2B5EF4-FFF2-40B4-BE49-F238E27FC236}">
                <a16:creationId xmlns:a16="http://schemas.microsoft.com/office/drawing/2014/main" id="{9DA1F714-1DF1-8ED5-DCEC-E5F3C43EE49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423" y="1394553"/>
            <a:ext cx="5399594" cy="4532586"/>
          </a:xfrm>
          <a:prstGeom prst="rect">
            <a:avLst/>
          </a:prstGeom>
        </p:spPr>
      </p:pic>
      <p:sp>
        <p:nvSpPr>
          <p:cNvPr id="5" name="TextBox 6">
            <a:extLst>
              <a:ext uri="{FF2B5EF4-FFF2-40B4-BE49-F238E27FC236}">
                <a16:creationId xmlns:a16="http://schemas.microsoft.com/office/drawing/2014/main" id="{5510C1B9-402C-B55A-9487-36F1AC6ED7AE}"/>
              </a:ext>
            </a:extLst>
          </p:cNvPr>
          <p:cNvSpPr txBox="1"/>
          <p:nvPr/>
        </p:nvSpPr>
        <p:spPr>
          <a:xfrm>
            <a:off x="7032464" y="682443"/>
            <a:ext cx="5093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F602CDF-5FD5-876C-6FDD-EBC01174242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en-US" sz="2400" dirty="0" err="1"/>
              <a:t>Dynamika</a:t>
            </a:r>
            <a:r>
              <a:rPr lang="en-US" sz="2400" dirty="0"/>
              <a:t> </a:t>
            </a:r>
            <a:r>
              <a:rPr lang="en-US" sz="2400" dirty="0" err="1"/>
              <a:t>počtu</a:t>
            </a:r>
            <a:r>
              <a:rPr lang="en-US" sz="2400" dirty="0"/>
              <a:t> </a:t>
            </a:r>
            <a:r>
              <a:rPr lang="cs-CZ" sz="2400" dirty="0"/>
              <a:t>samostatných </a:t>
            </a:r>
            <a:r>
              <a:rPr lang="en-US" sz="2400" dirty="0" err="1"/>
              <a:t>ordinací</a:t>
            </a:r>
            <a:r>
              <a:rPr lang="en-US" sz="2400" dirty="0"/>
              <a:t> </a:t>
            </a:r>
            <a:r>
              <a:rPr lang="en-US" sz="2400" dirty="0" err="1"/>
              <a:t>praktických</a:t>
            </a:r>
            <a:r>
              <a:rPr lang="en-US" sz="2400" dirty="0"/>
              <a:t> </a:t>
            </a:r>
            <a:r>
              <a:rPr lang="en-US" sz="2400" dirty="0" err="1"/>
              <a:t>lékařů</a:t>
            </a:r>
            <a:r>
              <a:rPr lang="en-US" sz="2400" dirty="0"/>
              <a:t> pro </a:t>
            </a:r>
            <a:r>
              <a:rPr lang="en-US" sz="2400" dirty="0" err="1"/>
              <a:t>dospělé</a:t>
            </a:r>
            <a:r>
              <a:rPr lang="cs-CZ" sz="2400" dirty="0"/>
              <a:t> v Praze </a:t>
            </a:r>
            <a:br>
              <a:rPr lang="cs-CZ" sz="2400" dirty="0"/>
            </a:br>
            <a:r>
              <a:rPr lang="cs-CZ" sz="2400" dirty="0"/>
              <a:t>v letech 2018-2023</a:t>
            </a:r>
            <a:r>
              <a:rPr lang="en-US" sz="2400" dirty="0"/>
              <a:t> </a:t>
            </a:r>
          </a:p>
        </p:txBody>
      </p:sp>
      <p:sp>
        <p:nvSpPr>
          <p:cNvPr id="7" name="TextBox 66">
            <a:extLst>
              <a:ext uri="{FF2B5EF4-FFF2-40B4-BE49-F238E27FC236}">
                <a16:creationId xmlns:a16="http://schemas.microsoft.com/office/drawing/2014/main" id="{4400E5DC-FFAD-AA1E-AC66-272D8A8BF584}"/>
              </a:ext>
            </a:extLst>
          </p:cNvPr>
          <p:cNvSpPr txBox="1"/>
          <p:nvPr/>
        </p:nvSpPr>
        <p:spPr>
          <a:xfrm>
            <a:off x="1746705" y="787640"/>
            <a:ext cx="3414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LD v letech 2018-2023</a:t>
            </a:r>
          </a:p>
        </p:txBody>
      </p:sp>
      <p:graphicFrame>
        <p:nvGraphicFramePr>
          <p:cNvPr id="8" name="Table 65">
            <a:extLst>
              <a:ext uri="{FF2B5EF4-FFF2-40B4-BE49-F238E27FC236}">
                <a16:creationId xmlns:a16="http://schemas.microsoft.com/office/drawing/2014/main" id="{71CDCEE1-18AB-A828-E3CF-2CC2786FB432}"/>
              </a:ext>
            </a:extLst>
          </p:cNvPr>
          <p:cNvGraphicFramePr>
            <a:graphicFrameLocks noGrp="1"/>
          </p:cNvGraphicFramePr>
          <p:nvPr/>
        </p:nvGraphicFramePr>
        <p:xfrm>
          <a:off x="1270355" y="1134906"/>
          <a:ext cx="3859964" cy="5181600"/>
        </p:xfrm>
        <a:graphic>
          <a:graphicData uri="http://schemas.openxmlformats.org/drawingml/2006/table">
            <a:tbl>
              <a:tblPr/>
              <a:tblGrid>
                <a:gridCol w="3297142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34090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28732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595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458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1155178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043335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8941954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499835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258490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0125279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8049414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04615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838495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3570442"/>
                  </a:ext>
                </a:extLst>
              </a:tr>
              <a:tr h="145892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263222"/>
                  </a:ext>
                </a:extLst>
              </a:tr>
            </a:tbl>
          </a:graphicData>
        </a:graphic>
      </p:graphicFrame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FF053DD6-C032-4062-04FD-3DE62B70C691}"/>
              </a:ext>
            </a:extLst>
          </p:cNvPr>
          <p:cNvGraphicFramePr/>
          <p:nvPr/>
        </p:nvGraphicFramePr>
        <p:xfrm>
          <a:off x="437745" y="990220"/>
          <a:ext cx="4289898" cy="5478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8">
            <a:extLst>
              <a:ext uri="{FF2B5EF4-FFF2-40B4-BE49-F238E27FC236}">
                <a16:creationId xmlns:a16="http://schemas.microsoft.com/office/drawing/2014/main" id="{4A9F2435-26C1-D43C-6317-AC623C092BAC}"/>
              </a:ext>
            </a:extLst>
          </p:cNvPr>
          <p:cNvSpPr txBox="1"/>
          <p:nvPr/>
        </p:nvSpPr>
        <p:spPr>
          <a:xfrm>
            <a:off x="374949" y="875191"/>
            <a:ext cx="8611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ěstská část</a:t>
            </a:r>
          </a:p>
        </p:txBody>
      </p:sp>
      <p:graphicFrame>
        <p:nvGraphicFramePr>
          <p:cNvPr id="14" name="Table 11">
            <a:extLst>
              <a:ext uri="{FF2B5EF4-FFF2-40B4-BE49-F238E27FC236}">
                <a16:creationId xmlns:a16="http://schemas.microsoft.com/office/drawing/2014/main" id="{C5327964-EF54-703E-1C9A-F0BAA0A8F1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830325"/>
              </p:ext>
            </p:extLst>
          </p:nvPr>
        </p:nvGraphicFramePr>
        <p:xfrm>
          <a:off x="5673035" y="5430928"/>
          <a:ext cx="6264615" cy="880646"/>
        </p:xfrm>
        <a:graphic>
          <a:graphicData uri="http://schemas.openxmlformats.org/drawingml/2006/table">
            <a:tbl>
              <a:tblPr/>
              <a:tblGrid>
                <a:gridCol w="2724140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1244893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1243138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1052444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421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4594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2200" b="1" u="none" strike="noStrike" dirty="0">
                          <a:effectLst/>
                        </a:rPr>
                        <a:t>Celá Praha 2018-2023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+30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231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01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sp>
        <p:nvSpPr>
          <p:cNvPr id="3" name="TextBox 10">
            <a:extLst>
              <a:ext uri="{FF2B5EF4-FFF2-40B4-BE49-F238E27FC236}">
                <a16:creationId xmlns:a16="http://schemas.microsoft.com/office/drawing/2014/main" id="{84EDC1C5-AB07-1EE4-93B1-CAA21638893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960378" y="1135299"/>
            <a:ext cx="61659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rušených míst poskytování 2018 – 2023 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825EDA0-48C9-AD37-6E2C-95DEA377F558}"/>
              </a:ext>
            </a:extLst>
          </p:cNvPr>
          <p:cNvSpPr txBox="1"/>
          <p:nvPr/>
        </p:nvSpPr>
        <p:spPr>
          <a:xfrm>
            <a:off x="4597317" y="6399216"/>
            <a:ext cx="7481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b="1" dirty="0"/>
              <a:t>92,1% obyvatel Prahy ve věku 20+ let čerpá </a:t>
            </a:r>
            <a:r>
              <a:rPr lang="cs-CZ" b="1"/>
              <a:t>službu PL </a:t>
            </a:r>
            <a:r>
              <a:rPr lang="cs-CZ" b="1" dirty="0"/>
              <a:t>na území Prahy</a:t>
            </a:r>
          </a:p>
        </p:txBody>
      </p:sp>
    </p:spTree>
    <p:extLst>
      <p:ext uri="{BB962C8B-B14F-4D97-AF65-F5344CB8AC3E}">
        <p14:creationId xmlns:p14="http://schemas.microsoft.com/office/powerpoint/2010/main" val="33867886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6775317" y="651191"/>
            <a:ext cx="53509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en-US" sz="2400" dirty="0" err="1"/>
              <a:t>Dynamika</a:t>
            </a:r>
            <a:r>
              <a:rPr lang="en-US" sz="2400" dirty="0"/>
              <a:t> </a:t>
            </a:r>
            <a:r>
              <a:rPr lang="en-US" sz="2400" dirty="0" err="1"/>
              <a:t>počtu</a:t>
            </a:r>
            <a:r>
              <a:rPr lang="en-US" sz="2400" dirty="0"/>
              <a:t> </a:t>
            </a:r>
            <a:r>
              <a:rPr lang="cs-CZ" sz="2400" dirty="0"/>
              <a:t>samostatných </a:t>
            </a:r>
            <a:r>
              <a:rPr lang="en-US" sz="2400" dirty="0" err="1"/>
              <a:t>ordinací</a:t>
            </a:r>
            <a:r>
              <a:rPr lang="en-US" sz="2400" dirty="0"/>
              <a:t> </a:t>
            </a:r>
            <a:r>
              <a:rPr lang="en-US" sz="2400" dirty="0" err="1"/>
              <a:t>praktických</a:t>
            </a:r>
            <a:r>
              <a:rPr lang="en-US" sz="2400" dirty="0"/>
              <a:t> </a:t>
            </a:r>
            <a:r>
              <a:rPr lang="en-US" sz="2400" dirty="0" err="1"/>
              <a:t>lékařů</a:t>
            </a:r>
            <a:r>
              <a:rPr lang="en-US" sz="2400" dirty="0"/>
              <a:t> pro </a:t>
            </a:r>
            <a:r>
              <a:rPr lang="cs-CZ" sz="2400" dirty="0"/>
              <a:t>děti a dorost </a:t>
            </a:r>
            <a:br>
              <a:rPr lang="cs-CZ" sz="2400" dirty="0"/>
            </a:br>
            <a:r>
              <a:rPr lang="cs-CZ" sz="2400" dirty="0"/>
              <a:t>v letech 2018-2023</a:t>
            </a:r>
            <a:r>
              <a:rPr lang="en-US" sz="2400" dirty="0"/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C44151-8DD3-86DB-FD93-903D8F387690}"/>
              </a:ext>
            </a:extLst>
          </p:cNvPr>
          <p:cNvSpPr txBox="1"/>
          <p:nvPr/>
        </p:nvSpPr>
        <p:spPr>
          <a:xfrm>
            <a:off x="5960378" y="1135299"/>
            <a:ext cx="61659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rušených míst poskytování 2018 – 2023 </a:t>
            </a:r>
          </a:p>
        </p:txBody>
      </p:sp>
      <p:sp>
        <p:nvSpPr>
          <p:cNvPr id="10" name="TextBox 46">
            <a:extLst>
              <a:ext uri="{FF2B5EF4-FFF2-40B4-BE49-F238E27FC236}">
                <a16:creationId xmlns:a16="http://schemas.microsoft.com/office/drawing/2014/main" id="{1EDD47E5-1AB5-A038-16B5-EE37A4B81866}"/>
              </a:ext>
            </a:extLst>
          </p:cNvPr>
          <p:cNvSpPr txBox="1"/>
          <p:nvPr/>
        </p:nvSpPr>
        <p:spPr>
          <a:xfrm>
            <a:off x="1025535" y="1218419"/>
            <a:ext cx="35125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LDD v letech 2018-2023</a:t>
            </a:r>
          </a:p>
        </p:txBody>
      </p:sp>
      <p:graphicFrame>
        <p:nvGraphicFramePr>
          <p:cNvPr id="12" name="Table 45">
            <a:extLst>
              <a:ext uri="{FF2B5EF4-FFF2-40B4-BE49-F238E27FC236}">
                <a16:creationId xmlns:a16="http://schemas.microsoft.com/office/drawing/2014/main" id="{8F98967C-DECB-0596-5900-288E1A404359}"/>
              </a:ext>
            </a:extLst>
          </p:cNvPr>
          <p:cNvGraphicFramePr>
            <a:graphicFrameLocks noGrp="1"/>
          </p:cNvGraphicFramePr>
          <p:nvPr/>
        </p:nvGraphicFramePr>
        <p:xfrm>
          <a:off x="235774" y="1598833"/>
          <a:ext cx="4693825" cy="3851559"/>
        </p:xfrm>
        <a:graphic>
          <a:graphicData uri="http://schemas.openxmlformats.org/drawingml/2006/table">
            <a:tbl>
              <a:tblPr/>
              <a:tblGrid>
                <a:gridCol w="3544534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293615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327170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  <a:gridCol w="528506">
                  <a:extLst>
                    <a:ext uri="{9D8B030D-6E8A-4147-A177-3AD203B41FA5}">
                      <a16:colId xmlns:a16="http://schemas.microsoft.com/office/drawing/2014/main" val="192530911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il</a:t>
                      </a:r>
                      <a:r>
                        <a:rPr lang="en-US" sz="11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ce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9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E18592A9-3AD9-AC04-92C9-B5FE8660597E}"/>
              </a:ext>
            </a:extLst>
          </p:cNvPr>
          <p:cNvGraphicFramePr/>
          <p:nvPr/>
        </p:nvGraphicFramePr>
        <p:xfrm>
          <a:off x="163325" y="1531086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8">
            <a:extLst>
              <a:ext uri="{FF2B5EF4-FFF2-40B4-BE49-F238E27FC236}">
                <a16:creationId xmlns:a16="http://schemas.microsoft.com/office/drawing/2014/main" id="{2B6438E0-3920-7346-BE20-21E104DC8A86}"/>
              </a:ext>
            </a:extLst>
          </p:cNvPr>
          <p:cNvSpPr txBox="1"/>
          <p:nvPr/>
        </p:nvSpPr>
        <p:spPr>
          <a:xfrm>
            <a:off x="149544" y="4226492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AF009A9B-9B15-5B26-86BD-876850926654}"/>
              </a:ext>
            </a:extLst>
          </p:cNvPr>
          <p:cNvSpPr txBox="1"/>
          <p:nvPr/>
        </p:nvSpPr>
        <p:spPr>
          <a:xfrm>
            <a:off x="152315" y="1610758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41C6C9DC-C756-FEB3-4DA2-8FE77960E7E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74745" y="1531086"/>
            <a:ext cx="6387880" cy="4081905"/>
          </a:xfrm>
          <a:prstGeom prst="rect">
            <a:avLst/>
          </a:prstGeom>
        </p:spPr>
      </p:pic>
      <p:graphicFrame>
        <p:nvGraphicFramePr>
          <p:cNvPr id="4" name="Table 11">
            <a:extLst>
              <a:ext uri="{FF2B5EF4-FFF2-40B4-BE49-F238E27FC236}">
                <a16:creationId xmlns:a16="http://schemas.microsoft.com/office/drawing/2014/main" id="{36D053F7-9B06-08B0-1956-2732DAFF2CEF}"/>
              </a:ext>
            </a:extLst>
          </p:cNvPr>
          <p:cNvGraphicFramePr>
            <a:graphicFrameLocks noGrp="1"/>
          </p:cNvGraphicFramePr>
          <p:nvPr/>
        </p:nvGraphicFramePr>
        <p:xfrm>
          <a:off x="3554905" y="5450392"/>
          <a:ext cx="6168877" cy="880646"/>
        </p:xfrm>
        <a:graphic>
          <a:graphicData uri="http://schemas.openxmlformats.org/drawingml/2006/table">
            <a:tbl>
              <a:tblPr/>
              <a:tblGrid>
                <a:gridCol w="2466753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1000724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1350700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1350700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421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4594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2200" b="1" u="none" strike="noStrike" dirty="0">
                          <a:effectLst/>
                        </a:rPr>
                        <a:t>Celá ČR 2018-2023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92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469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61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86634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 descr="Obsah obrázku mapa, text, atlas&#10;&#10;Popis byl vytvořen automaticky">
            <a:extLst>
              <a:ext uri="{FF2B5EF4-FFF2-40B4-BE49-F238E27FC236}">
                <a16:creationId xmlns:a16="http://schemas.microsoft.com/office/drawing/2014/main" id="{72202E27-5869-BB33-B497-0F9F917E2FC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552368"/>
            <a:ext cx="4693826" cy="394014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775317" y="651191"/>
            <a:ext cx="53509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Autofit/>
          </a:bodyPr>
          <a:lstStyle/>
          <a:p>
            <a:r>
              <a:rPr lang="en-US" sz="2400" dirty="0" err="1"/>
              <a:t>Dynamika</a:t>
            </a:r>
            <a:r>
              <a:rPr lang="en-US" sz="2400" dirty="0"/>
              <a:t> </a:t>
            </a:r>
            <a:r>
              <a:rPr lang="en-US" sz="2400" dirty="0" err="1"/>
              <a:t>počtu</a:t>
            </a:r>
            <a:r>
              <a:rPr lang="en-US" sz="2400" dirty="0"/>
              <a:t> </a:t>
            </a:r>
            <a:r>
              <a:rPr lang="cs-CZ" sz="2400" dirty="0"/>
              <a:t>samostatných </a:t>
            </a:r>
            <a:r>
              <a:rPr lang="en-US" sz="2400" dirty="0" err="1"/>
              <a:t>ordinací</a:t>
            </a:r>
            <a:r>
              <a:rPr lang="en-US" sz="2400" dirty="0"/>
              <a:t> </a:t>
            </a:r>
            <a:r>
              <a:rPr lang="en-US" sz="2400" dirty="0" err="1"/>
              <a:t>praktických</a:t>
            </a:r>
            <a:r>
              <a:rPr lang="en-US" sz="2400" dirty="0"/>
              <a:t> </a:t>
            </a:r>
            <a:r>
              <a:rPr lang="en-US" sz="2400" dirty="0" err="1"/>
              <a:t>lékařů</a:t>
            </a:r>
            <a:r>
              <a:rPr lang="en-US" sz="2400" dirty="0"/>
              <a:t> pro </a:t>
            </a:r>
            <a:r>
              <a:rPr lang="cs-CZ" sz="2400" dirty="0"/>
              <a:t>děti a dorost </a:t>
            </a:r>
            <a:br>
              <a:rPr lang="cs-CZ" sz="2400" dirty="0"/>
            </a:br>
            <a:r>
              <a:rPr lang="cs-CZ" sz="2400" dirty="0"/>
              <a:t>v letech 2018-2023</a:t>
            </a:r>
            <a:r>
              <a:rPr lang="en-US" sz="2400" dirty="0"/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C44151-8DD3-86DB-FD93-903D8F38769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960378" y="1135299"/>
            <a:ext cx="61659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rušených míst poskytování 2018 – 2023 </a:t>
            </a:r>
          </a:p>
        </p:txBody>
      </p:sp>
      <p:sp>
        <p:nvSpPr>
          <p:cNvPr id="10" name="TextBox 46">
            <a:extLst>
              <a:ext uri="{FF2B5EF4-FFF2-40B4-BE49-F238E27FC236}">
                <a16:creationId xmlns:a16="http://schemas.microsoft.com/office/drawing/2014/main" id="{1EDD47E5-1AB5-A038-16B5-EE37A4B81866}"/>
              </a:ext>
            </a:extLst>
          </p:cNvPr>
          <p:cNvSpPr txBox="1"/>
          <p:nvPr/>
        </p:nvSpPr>
        <p:spPr>
          <a:xfrm>
            <a:off x="1025535" y="1023864"/>
            <a:ext cx="35125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LDD v letech 2018-2023</a:t>
            </a:r>
          </a:p>
        </p:txBody>
      </p:sp>
      <p:graphicFrame>
        <p:nvGraphicFramePr>
          <p:cNvPr id="12" name="Table 45">
            <a:extLst>
              <a:ext uri="{FF2B5EF4-FFF2-40B4-BE49-F238E27FC236}">
                <a16:creationId xmlns:a16="http://schemas.microsoft.com/office/drawing/2014/main" id="{8F98967C-DECB-0596-5900-288E1A4043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246185"/>
              </p:ext>
            </p:extLst>
          </p:nvPr>
        </p:nvGraphicFramePr>
        <p:xfrm>
          <a:off x="235774" y="1429997"/>
          <a:ext cx="4693825" cy="4811695"/>
        </p:xfrm>
        <a:graphic>
          <a:graphicData uri="http://schemas.openxmlformats.org/drawingml/2006/table">
            <a:tbl>
              <a:tblPr/>
              <a:tblGrid>
                <a:gridCol w="3544534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293615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327170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  <a:gridCol w="528506">
                  <a:extLst>
                    <a:ext uri="{9D8B030D-6E8A-4147-A177-3AD203B41FA5}">
                      <a16:colId xmlns:a16="http://schemas.microsoft.com/office/drawing/2014/main" val="1925309117"/>
                    </a:ext>
                  </a:extLst>
                </a:gridCol>
              </a:tblGrid>
              <a:tr h="2550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6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6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il</a:t>
                      </a:r>
                      <a:r>
                        <a:rPr 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ce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822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82265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03161"/>
                  </a:ext>
                </a:extLst>
              </a:tr>
              <a:tr h="182265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711315"/>
                  </a:ext>
                </a:extLst>
              </a:tr>
              <a:tr h="182265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2923490"/>
                  </a:ext>
                </a:extLst>
              </a:tr>
              <a:tr h="182265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4038122"/>
                  </a:ext>
                </a:extLst>
              </a:tr>
              <a:tr h="182265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9050132"/>
                  </a:ext>
                </a:extLst>
              </a:tr>
              <a:tr h="182265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453802"/>
                  </a:ext>
                </a:extLst>
              </a:tr>
            </a:tbl>
          </a:graphicData>
        </a:graphic>
      </p:graphicFrame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E18592A9-3AD9-AC04-92C9-B5FE8660597E}"/>
              </a:ext>
            </a:extLst>
          </p:cNvPr>
          <p:cNvGraphicFramePr/>
          <p:nvPr/>
        </p:nvGraphicFramePr>
        <p:xfrm>
          <a:off x="163325" y="1432225"/>
          <a:ext cx="3512500" cy="4966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7" name="TextBox 8">
            <a:extLst>
              <a:ext uri="{FF2B5EF4-FFF2-40B4-BE49-F238E27FC236}">
                <a16:creationId xmlns:a16="http://schemas.microsoft.com/office/drawing/2014/main" id="{AF009A9B-9B15-5B26-86BD-876850926654}"/>
              </a:ext>
            </a:extLst>
          </p:cNvPr>
          <p:cNvSpPr txBox="1"/>
          <p:nvPr/>
        </p:nvSpPr>
        <p:spPr>
          <a:xfrm>
            <a:off x="152315" y="1406474"/>
            <a:ext cx="8611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ěstská část</a:t>
            </a:r>
          </a:p>
        </p:txBody>
      </p:sp>
      <p:graphicFrame>
        <p:nvGraphicFramePr>
          <p:cNvPr id="8" name="Table 11">
            <a:extLst>
              <a:ext uri="{FF2B5EF4-FFF2-40B4-BE49-F238E27FC236}">
                <a16:creationId xmlns:a16="http://schemas.microsoft.com/office/drawing/2014/main" id="{14DE87A5-2750-F29F-B797-A3F6ACD0A0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407289"/>
              </p:ext>
            </p:extLst>
          </p:nvPr>
        </p:nvGraphicFramePr>
        <p:xfrm>
          <a:off x="5493748" y="5402079"/>
          <a:ext cx="6462477" cy="880646"/>
        </p:xfrm>
        <a:graphic>
          <a:graphicData uri="http://schemas.openxmlformats.org/drawingml/2006/table">
            <a:tbl>
              <a:tblPr/>
              <a:tblGrid>
                <a:gridCol w="2584155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1048352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1414985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1414985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421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4594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2200" b="1" u="none" strike="noStrike" dirty="0">
                          <a:effectLst/>
                        </a:rPr>
                        <a:t>Praha 2018-2023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2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55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77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F7204D32-59D4-5F89-2896-B67B16D8DEE7}"/>
              </a:ext>
            </a:extLst>
          </p:cNvPr>
          <p:cNvSpPr txBox="1"/>
          <p:nvPr/>
        </p:nvSpPr>
        <p:spPr>
          <a:xfrm>
            <a:off x="4456643" y="6399216"/>
            <a:ext cx="8119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95,1% obyvatel Prahy ve věku 0 – 19 let čerpá službu PLDD na území Prahy</a:t>
            </a:r>
          </a:p>
        </p:txBody>
      </p:sp>
    </p:spTree>
    <p:extLst>
      <p:ext uri="{BB962C8B-B14F-4D97-AF65-F5344CB8AC3E}">
        <p14:creationId xmlns:p14="http://schemas.microsoft.com/office/powerpoint/2010/main" val="25689577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C0DAE3-2B75-C32B-6714-254CFCF32B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1666" y="160257"/>
            <a:ext cx="10515600" cy="631595"/>
          </a:xfrm>
        </p:spPr>
        <p:txBody>
          <a:bodyPr/>
          <a:lstStyle/>
          <a:p>
            <a:pPr algn="ctr"/>
            <a:r>
              <a:rPr lang="cs-CZ" dirty="0"/>
              <a:t>Rozložení rizika není mezi regiony rovnoměrné 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B7C6B96-E87B-A3CE-2EB9-F074FCAAAD9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2753" y="1554694"/>
            <a:ext cx="8659433" cy="5408081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2E5792B5-277B-DA88-C516-AEDD4C6F97FF}"/>
              </a:ext>
            </a:extLst>
          </p:cNvPr>
          <p:cNvSpPr txBox="1"/>
          <p:nvPr/>
        </p:nvSpPr>
        <p:spPr>
          <a:xfrm>
            <a:off x="253136" y="1044689"/>
            <a:ext cx="47855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dětské populace v riziku ztráty péče PLDD (děti bez vykázané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itace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DD nebo v péči ordinace s rizikově ohroženou kapacitou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606454C-4310-F1F4-5378-1F0F4BCCF675}"/>
              </a:ext>
            </a:extLst>
          </p:cNvPr>
          <p:cNvSpPr txBox="1"/>
          <p:nvPr/>
        </p:nvSpPr>
        <p:spPr>
          <a:xfrm>
            <a:off x="8343900" y="1225039"/>
            <a:ext cx="335828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populace dětí 0 – 19 let</a:t>
            </a:r>
          </a:p>
        </p:txBody>
      </p:sp>
    </p:spTree>
    <p:extLst>
      <p:ext uri="{BB962C8B-B14F-4D97-AF65-F5344CB8AC3E}">
        <p14:creationId xmlns:p14="http://schemas.microsoft.com/office/powerpoint/2010/main" val="19163502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en-US" dirty="0" err="1"/>
              <a:t>Dynamika</a:t>
            </a:r>
            <a:r>
              <a:rPr lang="en-US" dirty="0"/>
              <a:t> </a:t>
            </a:r>
            <a:r>
              <a:rPr lang="en-US" dirty="0" err="1"/>
              <a:t>počtu</a:t>
            </a:r>
            <a:r>
              <a:rPr lang="en-US" dirty="0"/>
              <a:t> </a:t>
            </a:r>
            <a:r>
              <a:rPr lang="en-US" dirty="0" err="1"/>
              <a:t>ordinací</a:t>
            </a:r>
            <a:r>
              <a:rPr lang="en-US" dirty="0"/>
              <a:t> </a:t>
            </a:r>
            <a:r>
              <a:rPr lang="en-US" dirty="0" err="1"/>
              <a:t>stomatolog</a:t>
            </a:r>
            <a:r>
              <a:rPr lang="cs-CZ" dirty="0"/>
              <a:t>ů za období 2018 – 2022</a:t>
            </a:r>
            <a:endParaRPr lang="en-US" dirty="0"/>
          </a:p>
        </p:txBody>
      </p:sp>
      <p:graphicFrame>
        <p:nvGraphicFramePr>
          <p:cNvPr id="6" name="Table 45">
            <a:extLst>
              <a:ext uri="{FF2B5EF4-FFF2-40B4-BE49-F238E27FC236}">
                <a16:creationId xmlns:a16="http://schemas.microsoft.com/office/drawing/2014/main" id="{35AC108F-A082-4661-A659-C254874B15F1}"/>
              </a:ext>
            </a:extLst>
          </p:cNvPr>
          <p:cNvGraphicFramePr>
            <a:graphicFrameLocks noGrp="1"/>
          </p:cNvGraphicFramePr>
          <p:nvPr/>
        </p:nvGraphicFramePr>
        <p:xfrm>
          <a:off x="1233202" y="1269576"/>
          <a:ext cx="3942302" cy="3851559"/>
        </p:xfrm>
        <a:graphic>
          <a:graphicData uri="http://schemas.openxmlformats.org/drawingml/2006/table">
            <a:tbl>
              <a:tblPr/>
              <a:tblGrid>
                <a:gridCol w="3367474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41217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33611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12" name="Chart 6">
            <a:extLst>
              <a:ext uri="{FF2B5EF4-FFF2-40B4-BE49-F238E27FC236}">
                <a16:creationId xmlns:a16="http://schemas.microsoft.com/office/drawing/2014/main" id="{2885E532-A371-42B3-A55D-FAE8256586B8}"/>
              </a:ext>
            </a:extLst>
          </p:cNvPr>
          <p:cNvGraphicFramePr/>
          <p:nvPr/>
        </p:nvGraphicFramePr>
        <p:xfrm>
          <a:off x="1167101" y="1169394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8">
            <a:extLst>
              <a:ext uri="{FF2B5EF4-FFF2-40B4-BE49-F238E27FC236}">
                <a16:creationId xmlns:a16="http://schemas.microsoft.com/office/drawing/2014/main" id="{F7B9D7E1-6AD7-4491-892C-5AFE18488ED7}"/>
              </a:ext>
            </a:extLst>
          </p:cNvPr>
          <p:cNvSpPr txBox="1"/>
          <p:nvPr/>
        </p:nvSpPr>
        <p:spPr>
          <a:xfrm>
            <a:off x="660949" y="3872265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2A11655A-559C-4A1F-91DC-91BE0239E6E4}"/>
              </a:ext>
            </a:extLst>
          </p:cNvPr>
          <p:cNvSpPr txBox="1"/>
          <p:nvPr/>
        </p:nvSpPr>
        <p:spPr>
          <a:xfrm>
            <a:off x="663720" y="1256531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sp>
        <p:nvSpPr>
          <p:cNvPr id="17" name="Obdélník 26">
            <a:extLst>
              <a:ext uri="{FF2B5EF4-FFF2-40B4-BE49-F238E27FC236}">
                <a16:creationId xmlns:a16="http://schemas.microsoft.com/office/drawing/2014/main" id="{A65B6BD0-307C-4B9C-9D4C-BA47CDC813A4}"/>
              </a:ext>
            </a:extLst>
          </p:cNvPr>
          <p:cNvSpPr/>
          <p:nvPr/>
        </p:nvSpPr>
        <p:spPr>
          <a:xfrm>
            <a:off x="2638459" y="5453286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8" name="Table 11">
            <a:extLst>
              <a:ext uri="{FF2B5EF4-FFF2-40B4-BE49-F238E27FC236}">
                <a16:creationId xmlns:a16="http://schemas.microsoft.com/office/drawing/2014/main" id="{78912AFB-BE5B-4524-89B7-4287E8EEC9FB}"/>
              </a:ext>
            </a:extLst>
          </p:cNvPr>
          <p:cNvGraphicFramePr>
            <a:graphicFrameLocks noGrp="1"/>
          </p:cNvGraphicFramePr>
          <p:nvPr/>
        </p:nvGraphicFramePr>
        <p:xfrm>
          <a:off x="1419971" y="5492546"/>
          <a:ext cx="2862899" cy="381000"/>
        </p:xfrm>
        <a:graphic>
          <a:graphicData uri="http://schemas.openxmlformats.org/drawingml/2006/table">
            <a:tbl>
              <a:tblPr/>
              <a:tblGrid>
                <a:gridCol w="1204357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566928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42974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ČR 2018-202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422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 21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sp>
        <p:nvSpPr>
          <p:cNvPr id="19" name="TextBox 21">
            <a:extLst>
              <a:ext uri="{FF2B5EF4-FFF2-40B4-BE49-F238E27FC236}">
                <a16:creationId xmlns:a16="http://schemas.microsoft.com/office/drawing/2014/main" id="{D4CF6613-8501-4F04-B2B3-D25E2CCCAE07}"/>
              </a:ext>
            </a:extLst>
          </p:cNvPr>
          <p:cNvSpPr txBox="1"/>
          <p:nvPr/>
        </p:nvSpPr>
        <p:spPr>
          <a:xfrm>
            <a:off x="288000" y="540000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, 1.7.2023</a:t>
            </a:r>
          </a:p>
        </p:txBody>
      </p:sp>
      <p:sp>
        <p:nvSpPr>
          <p:cNvPr id="21" name="TextBox 46">
            <a:extLst>
              <a:ext uri="{FF2B5EF4-FFF2-40B4-BE49-F238E27FC236}">
                <a16:creationId xmlns:a16="http://schemas.microsoft.com/office/drawing/2014/main" id="{35B25AFE-2275-4A4B-B1F6-D63F0C87129F}"/>
              </a:ext>
            </a:extLst>
          </p:cNvPr>
          <p:cNvSpPr txBox="1"/>
          <p:nvPr/>
        </p:nvSpPr>
        <p:spPr>
          <a:xfrm>
            <a:off x="2049885" y="919973"/>
            <a:ext cx="3284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ZS v roce 2018-2022</a:t>
            </a:r>
          </a:p>
        </p:txBody>
      </p:sp>
      <p:pic>
        <p:nvPicPr>
          <p:cNvPr id="4" name="Obrázek 3" descr="Obsah obrázku mapa&#10;&#10;Popis byl vytvořen automaticky">
            <a:extLst>
              <a:ext uri="{FF2B5EF4-FFF2-40B4-BE49-F238E27FC236}">
                <a16:creationId xmlns:a16="http://schemas.microsoft.com/office/drawing/2014/main" id="{BBB9CF25-BF8B-A3E4-E5A4-352FF0A905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743" y="1379641"/>
            <a:ext cx="6148252" cy="3498860"/>
          </a:xfrm>
          <a:prstGeom prst="rect">
            <a:avLst/>
          </a:prstGeom>
        </p:spPr>
      </p:pic>
      <p:sp>
        <p:nvSpPr>
          <p:cNvPr id="2" name="Rectangle 5">
            <a:extLst>
              <a:ext uri="{FF2B5EF4-FFF2-40B4-BE49-F238E27FC236}">
                <a16:creationId xmlns:a16="http://schemas.microsoft.com/office/drawing/2014/main" id="{2C59BF8A-2E40-A6F2-5353-349E1E3A0D64}"/>
              </a:ext>
            </a:extLst>
          </p:cNvPr>
          <p:cNvSpPr/>
          <p:nvPr/>
        </p:nvSpPr>
        <p:spPr>
          <a:xfrm>
            <a:off x="1480724" y="6180222"/>
            <a:ext cx="104922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každé IČO poskytovatele může mít více adres) - ICO+PCZ+PCDP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3575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E35933C7-652B-C1EB-5F81-04C02524FDE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6423" y="1401441"/>
            <a:ext cx="5399594" cy="451880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en-US" dirty="0" err="1"/>
              <a:t>Dynamika</a:t>
            </a:r>
            <a:r>
              <a:rPr lang="en-US" dirty="0"/>
              <a:t> </a:t>
            </a:r>
            <a:r>
              <a:rPr lang="en-US" dirty="0" err="1"/>
              <a:t>počtu</a:t>
            </a:r>
            <a:r>
              <a:rPr lang="en-US" dirty="0"/>
              <a:t> </a:t>
            </a:r>
            <a:r>
              <a:rPr lang="en-US" dirty="0" err="1"/>
              <a:t>ordinací</a:t>
            </a:r>
            <a:r>
              <a:rPr lang="en-US" dirty="0"/>
              <a:t> </a:t>
            </a:r>
            <a:r>
              <a:rPr lang="en-US" dirty="0" err="1"/>
              <a:t>stomatolog</a:t>
            </a:r>
            <a:r>
              <a:rPr lang="cs-CZ" dirty="0"/>
              <a:t>ů za období 2018 – 2022</a:t>
            </a:r>
            <a:endParaRPr lang="en-US" dirty="0"/>
          </a:p>
        </p:txBody>
      </p:sp>
      <p:graphicFrame>
        <p:nvGraphicFramePr>
          <p:cNvPr id="6" name="Table 45">
            <a:extLst>
              <a:ext uri="{FF2B5EF4-FFF2-40B4-BE49-F238E27FC236}">
                <a16:creationId xmlns:a16="http://schemas.microsoft.com/office/drawing/2014/main" id="{35AC108F-A082-4661-A659-C254874B15F1}"/>
              </a:ext>
            </a:extLst>
          </p:cNvPr>
          <p:cNvGraphicFramePr>
            <a:graphicFrameLocks noGrp="1"/>
          </p:cNvGraphicFramePr>
          <p:nvPr/>
        </p:nvGraphicFramePr>
        <p:xfrm>
          <a:off x="1181364" y="1060236"/>
          <a:ext cx="3942302" cy="5061117"/>
        </p:xfrm>
        <a:graphic>
          <a:graphicData uri="http://schemas.openxmlformats.org/drawingml/2006/table">
            <a:tbl>
              <a:tblPr/>
              <a:tblGrid>
                <a:gridCol w="3367474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41217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33611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800755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734950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7588289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955924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592929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138402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5516653"/>
                  </a:ext>
                </a:extLst>
              </a:tr>
              <a:tr h="172794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828519"/>
                  </a:ext>
                </a:extLst>
              </a:tr>
            </a:tbl>
          </a:graphicData>
        </a:graphic>
      </p:graphicFrame>
      <p:sp>
        <p:nvSpPr>
          <p:cNvPr id="17" name="Obdélník 26">
            <a:extLst>
              <a:ext uri="{FF2B5EF4-FFF2-40B4-BE49-F238E27FC236}">
                <a16:creationId xmlns:a16="http://schemas.microsoft.com/office/drawing/2014/main" id="{A65B6BD0-307C-4B9C-9D4C-BA47CDC813A4}"/>
              </a:ext>
            </a:extLst>
          </p:cNvPr>
          <p:cNvSpPr/>
          <p:nvPr/>
        </p:nvSpPr>
        <p:spPr>
          <a:xfrm>
            <a:off x="8922549" y="5453286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8" name="Table 11">
            <a:extLst>
              <a:ext uri="{FF2B5EF4-FFF2-40B4-BE49-F238E27FC236}">
                <a16:creationId xmlns:a16="http://schemas.microsoft.com/office/drawing/2014/main" id="{78912AFB-BE5B-4524-89B7-4287E8EEC9FB}"/>
              </a:ext>
            </a:extLst>
          </p:cNvPr>
          <p:cNvGraphicFramePr>
            <a:graphicFrameLocks noGrp="1"/>
          </p:cNvGraphicFramePr>
          <p:nvPr/>
        </p:nvGraphicFramePr>
        <p:xfrm>
          <a:off x="7568123" y="5492546"/>
          <a:ext cx="3096117" cy="381000"/>
        </p:xfrm>
        <a:graphic>
          <a:graphicData uri="http://schemas.openxmlformats.org/drawingml/2006/table">
            <a:tbl>
              <a:tblPr/>
              <a:tblGrid>
                <a:gridCol w="1302467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93333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613111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87206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Praha 2018-202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sp>
        <p:nvSpPr>
          <p:cNvPr id="19" name="TextBox 21">
            <a:extLst>
              <a:ext uri="{FF2B5EF4-FFF2-40B4-BE49-F238E27FC236}">
                <a16:creationId xmlns:a16="http://schemas.microsoft.com/office/drawing/2014/main" id="{D4CF6613-8501-4F04-B2B3-D25E2CCCAE07}"/>
              </a:ext>
            </a:extLst>
          </p:cNvPr>
          <p:cNvSpPr txBox="1"/>
          <p:nvPr/>
        </p:nvSpPr>
        <p:spPr>
          <a:xfrm>
            <a:off x="288000" y="540000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, 1. 6. 2024</a:t>
            </a:r>
          </a:p>
        </p:txBody>
      </p:sp>
      <p:sp>
        <p:nvSpPr>
          <p:cNvPr id="21" name="TextBox 46">
            <a:extLst>
              <a:ext uri="{FF2B5EF4-FFF2-40B4-BE49-F238E27FC236}">
                <a16:creationId xmlns:a16="http://schemas.microsoft.com/office/drawing/2014/main" id="{35B25AFE-2275-4A4B-B1F6-D63F0C87129F}"/>
              </a:ext>
            </a:extLst>
          </p:cNvPr>
          <p:cNvSpPr txBox="1"/>
          <p:nvPr/>
        </p:nvSpPr>
        <p:spPr>
          <a:xfrm>
            <a:off x="2049885" y="803239"/>
            <a:ext cx="3284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ZS v roce 2018-2022</a:t>
            </a: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2C59BF8A-2E40-A6F2-5353-349E1E3A0D64}"/>
              </a:ext>
            </a:extLst>
          </p:cNvPr>
          <p:cNvSpPr/>
          <p:nvPr/>
        </p:nvSpPr>
        <p:spPr>
          <a:xfrm>
            <a:off x="1480724" y="6180222"/>
            <a:ext cx="104922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každé IČO poskytovatele může mít více adres) - ICO+PCZ+PCDP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2BDC8257-DC07-E0F1-6429-19BD285F8F3D}"/>
              </a:ext>
            </a:extLst>
          </p:cNvPr>
          <p:cNvGraphicFramePr/>
          <p:nvPr/>
        </p:nvGraphicFramePr>
        <p:xfrm>
          <a:off x="457201" y="970763"/>
          <a:ext cx="4289898" cy="5277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8">
            <a:extLst>
              <a:ext uri="{FF2B5EF4-FFF2-40B4-BE49-F238E27FC236}">
                <a16:creationId xmlns:a16="http://schemas.microsoft.com/office/drawing/2014/main" id="{D12341A4-B50D-DB46-6348-93ABC97FD5AE}"/>
              </a:ext>
            </a:extLst>
          </p:cNvPr>
          <p:cNvSpPr txBox="1"/>
          <p:nvPr/>
        </p:nvSpPr>
        <p:spPr>
          <a:xfrm>
            <a:off x="374949" y="875191"/>
            <a:ext cx="8611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ěstská část</a:t>
            </a:r>
          </a:p>
        </p:txBody>
      </p:sp>
    </p:spTree>
    <p:extLst>
      <p:ext uri="{BB962C8B-B14F-4D97-AF65-F5344CB8AC3E}">
        <p14:creationId xmlns:p14="http://schemas.microsoft.com/office/powerpoint/2010/main" val="42203900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68A4A2-61F6-30BE-10E0-423E954A942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1474" y="1148270"/>
            <a:ext cx="5733945" cy="1404481"/>
          </a:xfrm>
        </p:spPr>
        <p:txBody>
          <a:bodyPr>
            <a:noAutofit/>
          </a:bodyPr>
          <a:lstStyle/>
          <a:p>
            <a:r>
              <a:rPr lang="cs-CZ" sz="3400" dirty="0"/>
              <a:t>Kapacity vybraných ambulantních profesí v Praze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6316CBC-BD3C-4E7B-9B63-02FEB44CC2BB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332616" y="4615602"/>
            <a:ext cx="6424712" cy="1212441"/>
          </a:xfrm>
        </p:spPr>
        <p:txBody>
          <a:bodyPr/>
          <a:lstStyle/>
          <a:p>
            <a:r>
              <a:rPr lang="cs-CZ" dirty="0"/>
              <a:t>Rizika spojená s nedostupností kapacit psychiatrické péče</a:t>
            </a:r>
          </a:p>
        </p:txBody>
      </p:sp>
    </p:spTree>
    <p:extLst>
      <p:ext uri="{BB962C8B-B14F-4D97-AF65-F5344CB8AC3E}">
        <p14:creationId xmlns:p14="http://schemas.microsoft.com/office/powerpoint/2010/main" val="37960709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/>
          <a:p>
            <a:r>
              <a:rPr lang="cs-CZ" dirty="0"/>
              <a:t>Praha: vývoj počtu dětí a mladistvých s psychiatrickou péčí</a:t>
            </a:r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B8741951-2E0B-CD2F-91A8-78A2B78E0DE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0849" y="1563763"/>
          <a:ext cx="10884316" cy="46284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84831">
                  <a:extLst>
                    <a:ext uri="{9D8B030D-6E8A-4147-A177-3AD203B41FA5}">
                      <a16:colId xmlns:a16="http://schemas.microsoft.com/office/drawing/2014/main" val="1450522724"/>
                    </a:ext>
                  </a:extLst>
                </a:gridCol>
                <a:gridCol w="1479666">
                  <a:extLst>
                    <a:ext uri="{9D8B030D-6E8A-4147-A177-3AD203B41FA5}">
                      <a16:colId xmlns:a16="http://schemas.microsoft.com/office/drawing/2014/main" val="3948739247"/>
                    </a:ext>
                  </a:extLst>
                </a:gridCol>
                <a:gridCol w="1110467">
                  <a:extLst>
                    <a:ext uri="{9D8B030D-6E8A-4147-A177-3AD203B41FA5}">
                      <a16:colId xmlns:a16="http://schemas.microsoft.com/office/drawing/2014/main" val="3598116846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739354688"/>
                    </a:ext>
                  </a:extLst>
                </a:gridCol>
              </a:tblGrid>
              <a:tr h="382065">
                <a:tc>
                  <a:txBody>
                    <a:bodyPr/>
                    <a:lstStyle/>
                    <a:p>
                      <a:pPr algn="r" fontAlgn="b"/>
                      <a:endParaRPr lang="en-US" sz="2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  <a:latin typeface="+mn-lt"/>
                        </a:rPr>
                        <a:t>201</a:t>
                      </a:r>
                      <a:r>
                        <a:rPr lang="cs-CZ" sz="1800" b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změn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5659930"/>
                  </a:ext>
                </a:extLst>
              </a:tr>
              <a:tr h="317245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chování a emocí s obvyklým nástupem v dětství a v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sp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(F90-F98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7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26951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urotické‚ stresové a somatoformní poruchy (F40-F48 bez F42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354853"/>
                  </a:ext>
                </a:extLst>
              </a:tr>
              <a:tr h="31550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ruchy psychického vývoje (F80-F8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5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19666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presivní porucha (F32, F33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62929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yndromy poruch chování‚ spoj. s fyziolog. poruch. a </a:t>
                      </a:r>
                      <a:r>
                        <a:rPr lang="cs-CZ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omat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faktory (F50-F5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09887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ruchy osobnosti a chování (F60, F61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77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73938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edantně-nutkavá porucha (F42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1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150853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měny osobnosti a chování (F62-F6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1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494669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ntální retardace (F70-F7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34865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půs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užíváním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ak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látek (F11-F1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939928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izofrenie‚ poruchy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izotypální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poruchy s bludy (F20-F29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234031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ektivní poruchy (bez deprese) (F30-F39 bez F32, F33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05264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duševní a poruchy chování způsobené užíváním alkoholu (F10)</a:t>
                      </a:r>
                    </a:p>
                  </a:txBody>
                  <a:tcPr marL="396000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932262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cké duševní poruchy, Alzheimerova nemoc (F00-F09, G30)</a:t>
                      </a:r>
                    </a:p>
                  </a:txBody>
                  <a:tcPr marL="396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941665"/>
                  </a:ext>
                </a:extLst>
              </a:tr>
              <a:tr h="273278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</a:t>
                      </a:r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1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320944"/>
                  </a:ext>
                </a:extLst>
              </a:tr>
            </a:tbl>
          </a:graphicData>
        </a:graphic>
      </p:graphicFrame>
      <p:sp>
        <p:nvSpPr>
          <p:cNvPr id="8" name="Šipka doprava 12">
            <a:extLst>
              <a:ext uri="{FF2B5EF4-FFF2-40B4-BE49-F238E27FC236}">
                <a16:creationId xmlns:a16="http://schemas.microsoft.com/office/drawing/2014/main" id="{590E7EAB-8AED-3FE0-FA55-604CEBD626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468970" y="201741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0E4BE4BE-3E2C-528E-129D-086AAC9C088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8000" y="665785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.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 </a:t>
            </a:r>
          </a:p>
        </p:txBody>
      </p:sp>
      <p:sp>
        <p:nvSpPr>
          <p:cNvPr id="14" name="Šipka doprava 12">
            <a:extLst>
              <a:ext uri="{FF2B5EF4-FFF2-40B4-BE49-F238E27FC236}">
                <a16:creationId xmlns:a16="http://schemas.microsoft.com/office/drawing/2014/main" id="{5F1B4CD8-4141-C91A-A185-58FE42B2B87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468970" y="229525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 doprava 12">
            <a:extLst>
              <a:ext uri="{FF2B5EF4-FFF2-40B4-BE49-F238E27FC236}">
                <a16:creationId xmlns:a16="http://schemas.microsoft.com/office/drawing/2014/main" id="{243C3E54-045A-F061-A6DB-D14FA64EBCE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468970" y="2573091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prava 12">
            <a:extLst>
              <a:ext uri="{FF2B5EF4-FFF2-40B4-BE49-F238E27FC236}">
                <a16:creationId xmlns:a16="http://schemas.microsoft.com/office/drawing/2014/main" id="{F9899E27-E2DB-3437-F1B2-4B2510712DC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468970" y="2850928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prava 12">
            <a:extLst>
              <a:ext uri="{FF2B5EF4-FFF2-40B4-BE49-F238E27FC236}">
                <a16:creationId xmlns:a16="http://schemas.microsoft.com/office/drawing/2014/main" id="{563A5320-FEA9-D759-53B7-C9A8D3F1F0C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468970" y="3128765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Šipka doprava 12">
            <a:extLst>
              <a:ext uri="{FF2B5EF4-FFF2-40B4-BE49-F238E27FC236}">
                <a16:creationId xmlns:a16="http://schemas.microsoft.com/office/drawing/2014/main" id="{FCD49529-BE44-7B63-9A2D-5D212E7CE2F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16200000">
            <a:off x="468970" y="3406602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Šipka doprava 12">
            <a:extLst>
              <a:ext uri="{FF2B5EF4-FFF2-40B4-BE49-F238E27FC236}">
                <a16:creationId xmlns:a16="http://schemas.microsoft.com/office/drawing/2014/main" id="{985CFA5F-F4DD-2B59-92A7-1220E4D2B0B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16200000">
            <a:off x="468970" y="3684439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 doprava 12">
            <a:extLst>
              <a:ext uri="{FF2B5EF4-FFF2-40B4-BE49-F238E27FC236}">
                <a16:creationId xmlns:a16="http://schemas.microsoft.com/office/drawing/2014/main" id="{731BACEC-F6E1-06C0-A9F1-0EDDFA89635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6200000">
            <a:off x="468970" y="3962276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Šipka doprava 12">
            <a:extLst>
              <a:ext uri="{FF2B5EF4-FFF2-40B4-BE49-F238E27FC236}">
                <a16:creationId xmlns:a16="http://schemas.microsoft.com/office/drawing/2014/main" id="{B8E1DB96-92DB-EBF9-A51F-FC7C426484D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468970" y="4240113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Šipka doprava 12">
            <a:extLst>
              <a:ext uri="{FF2B5EF4-FFF2-40B4-BE49-F238E27FC236}">
                <a16:creationId xmlns:a16="http://schemas.microsoft.com/office/drawing/2014/main" id="{AD749F03-E3BF-06E9-FF8F-F414FF3A396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468970" y="4517950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Šipka doprava 12">
            <a:extLst>
              <a:ext uri="{FF2B5EF4-FFF2-40B4-BE49-F238E27FC236}">
                <a16:creationId xmlns:a16="http://schemas.microsoft.com/office/drawing/2014/main" id="{6AF2339F-4BEF-CDDA-BC2D-56D81BCBCE2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468970" y="479578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Šipka doprava 12">
            <a:extLst>
              <a:ext uri="{FF2B5EF4-FFF2-40B4-BE49-F238E27FC236}">
                <a16:creationId xmlns:a16="http://schemas.microsoft.com/office/drawing/2014/main" id="{987C1B31-5A1A-9989-E3C3-FB839254DFF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468970" y="507362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Šipka doprava 12">
            <a:extLst>
              <a:ext uri="{FF2B5EF4-FFF2-40B4-BE49-F238E27FC236}">
                <a16:creationId xmlns:a16="http://schemas.microsoft.com/office/drawing/2014/main" id="{8E4ACC0A-E5E9-994B-DC59-9926A0795DD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468970" y="5629297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prava 12">
            <a:extLst>
              <a:ext uri="{FF2B5EF4-FFF2-40B4-BE49-F238E27FC236}">
                <a16:creationId xmlns:a16="http://schemas.microsoft.com/office/drawing/2014/main" id="{B6424A27-AECB-37EE-96FD-13D5F049B96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 rot="16200000">
            <a:off x="484210" y="588768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prava 12">
            <a:extLst>
              <a:ext uri="{FF2B5EF4-FFF2-40B4-BE49-F238E27FC236}">
                <a16:creationId xmlns:a16="http://schemas.microsoft.com/office/drawing/2014/main" id="{5AF16D6E-8FF1-2E41-7B37-5C5CD6C0ECB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 rot="16200000">
            <a:off x="468971" y="5343254"/>
            <a:ext cx="187634" cy="239153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303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061" y="481804"/>
            <a:ext cx="12027877" cy="4261018"/>
          </a:xfrm>
        </p:spPr>
        <p:txBody>
          <a:bodyPr>
            <a:noAutofit/>
          </a:bodyPr>
          <a:lstStyle/>
          <a:p>
            <a:pPr algn="ctr"/>
            <a:r>
              <a:rPr lang="cs-CZ" sz="4200" dirty="0">
                <a:solidFill>
                  <a:schemeClr val="tx1"/>
                </a:solidFill>
              </a:rPr>
              <a:t>Hodnocení a plánování potřebných personálních kapacit ve zdravotnictví je strategicky důležité. </a:t>
            </a:r>
            <a:br>
              <a:rPr lang="cs-CZ" sz="4200" dirty="0">
                <a:solidFill>
                  <a:schemeClr val="tx1"/>
                </a:solidFill>
              </a:rPr>
            </a:br>
            <a:br>
              <a:rPr lang="cs-CZ" sz="4200" dirty="0">
                <a:solidFill>
                  <a:schemeClr val="tx1"/>
                </a:solidFill>
              </a:rPr>
            </a:br>
            <a:r>
              <a:rPr lang="cs-CZ" sz="4200" dirty="0">
                <a:solidFill>
                  <a:schemeClr val="tx1"/>
                </a:solidFill>
              </a:rPr>
              <a:t>V následujících letech dojde k významnému </a:t>
            </a:r>
            <a:r>
              <a:rPr lang="cs-CZ" sz="4200" dirty="0">
                <a:solidFill>
                  <a:srgbClr val="C00000"/>
                </a:solidFill>
              </a:rPr>
              <a:t>demografickému stárnutí </a:t>
            </a:r>
            <a:r>
              <a:rPr lang="cs-CZ" sz="4200" dirty="0">
                <a:solidFill>
                  <a:schemeClr val="tx1"/>
                </a:solidFill>
              </a:rPr>
              <a:t>populace ČR i Prahy. </a:t>
            </a:r>
            <a:br>
              <a:rPr lang="cs-CZ" sz="4200" dirty="0">
                <a:solidFill>
                  <a:schemeClr val="tx1"/>
                </a:solidFill>
              </a:rPr>
            </a:br>
            <a:br>
              <a:rPr lang="cs-CZ" sz="4200" dirty="0">
                <a:solidFill>
                  <a:schemeClr val="tx1"/>
                </a:solidFill>
              </a:rPr>
            </a:br>
            <a:r>
              <a:rPr lang="cs-CZ" sz="4200" dirty="0">
                <a:solidFill>
                  <a:schemeClr val="tx1"/>
                </a:solidFill>
              </a:rPr>
              <a:t>Dostatečná personální kapacita bude určující </a:t>
            </a:r>
            <a:br>
              <a:rPr lang="cs-CZ" sz="4200" dirty="0">
                <a:solidFill>
                  <a:schemeClr val="tx1"/>
                </a:solidFill>
              </a:rPr>
            </a:br>
            <a:r>
              <a:rPr lang="cs-CZ" sz="4200" dirty="0">
                <a:solidFill>
                  <a:srgbClr val="C00000"/>
                </a:solidFill>
              </a:rPr>
              <a:t>pro zajištění dostupnosti</a:t>
            </a:r>
            <a:r>
              <a:rPr lang="cs-CZ" sz="4200" dirty="0">
                <a:solidFill>
                  <a:schemeClr val="tx1"/>
                </a:solidFill>
              </a:rPr>
              <a:t> zdravotních služeb. </a:t>
            </a:r>
            <a:endParaRPr lang="en-US" sz="4200" dirty="0">
              <a:solidFill>
                <a:schemeClr val="tx1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C706F8AF-B7E8-8AB3-F7C8-EC10A9E07ADC}"/>
              </a:ext>
            </a:extLst>
          </p:cNvPr>
          <p:cNvSpPr/>
          <p:nvPr/>
        </p:nvSpPr>
        <p:spPr>
          <a:xfrm>
            <a:off x="5122010" y="5306347"/>
            <a:ext cx="1607736" cy="82396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14151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/>
          <a:p>
            <a:r>
              <a:rPr lang="cs-CZ" dirty="0"/>
              <a:t>Praha: počet dětí a mladistvých s psychiatrickou péčí pro vybrané diagnózy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2CE8BEFA-D5B6-D8BC-781A-3906F97B253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251595" y="1619168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5165A08E-37F3-10FD-446A-7F113FDBF59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677367" y="1249846"/>
            <a:ext cx="26960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20-F29 (Schizofrenie‚ poruchy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typál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poruchy s bludy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0AF6038-1576-CEFB-3F23-5F6EE823373B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84465" y="1717021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816E839B-79F9-9EF0-0D14-329C6A6090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4309" y="1151006"/>
            <a:ext cx="30490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10 (Poruchy duševní a poruchy chování způsobené užíváním alkoholu)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76789576-66B6-F0E3-6128-32BB11DB872A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26345" y="4367253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83F0B875-7C8E-9D20-A25B-207FF70BDFD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5274" y="3997931"/>
            <a:ext cx="3208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30-F39 bez F32, F33 (Afektivní poruchy (bez deprese))</a:t>
            </a:r>
          </a:p>
        </p:txBody>
      </p:sp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A0352A70-A966-9ACA-1985-6D877841191A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130510" y="1718589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90C0BBDE-23EF-ECFF-F270-BDD68240E45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298139" y="1164632"/>
            <a:ext cx="3501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11-F19 (Poruchy duševní a poruchy chování způsobené užíváním psychoaktivních látek) </a:t>
            </a:r>
          </a:p>
        </p:txBody>
      </p:sp>
      <p:graphicFrame>
        <p:nvGraphicFramePr>
          <p:cNvPr id="13" name="Chart 6">
            <a:extLst>
              <a:ext uri="{FF2B5EF4-FFF2-40B4-BE49-F238E27FC236}">
                <a16:creationId xmlns:a16="http://schemas.microsoft.com/office/drawing/2014/main" id="{940E261E-F2F5-6BEB-92EF-47392AAB0859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4172390" y="4368821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5EE79BEC-F7EC-B633-8E15-8F3F16631BB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598162" y="3999499"/>
            <a:ext cx="2696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32, F33 (Depresivní porucha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89264EBB-A106-80BB-3583-00489ED7E7D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6305" y="544618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0B30ADD2-EA2F-3194-33FA-EEA177FBC8E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 rot="16200000">
            <a:off x="7138466" y="2174945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7FCE4D6-3EEA-A78D-BE86-07BE56382BA7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 rot="16200000">
            <a:off x="-500383" y="2255216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3713500-509F-C3DA-1B02-5AB829F1067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 rot="16200000">
            <a:off x="-449074" y="4904178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B27FF155-2839-9B42-A6B8-CFE2D9B0730C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 rot="16200000">
            <a:off x="3064518" y="2256784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7BB7CAF-D822-7B9C-446C-254007DDC6AD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 rot="16200000">
            <a:off x="3115827" y="4905746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4733807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1182218" cy="538364"/>
          </a:xfrm>
        </p:spPr>
        <p:txBody>
          <a:bodyPr anchor="t">
            <a:noAutofit/>
          </a:bodyPr>
          <a:lstStyle/>
          <a:p>
            <a:r>
              <a:rPr lang="cs-CZ" dirty="0"/>
              <a:t>Praha: Počet dětí a mladistvých s psychiatrickou péčí pro vybrané diagnózy</a:t>
            </a:r>
          </a:p>
        </p:txBody>
      </p:sp>
      <p:graphicFrame>
        <p:nvGraphicFramePr>
          <p:cNvPr id="4" name="Chart 6">
            <a:extLst>
              <a:ext uri="{FF2B5EF4-FFF2-40B4-BE49-F238E27FC236}">
                <a16:creationId xmlns:a16="http://schemas.microsoft.com/office/drawing/2014/main" id="{70DDC0F1-2D0B-8350-4F55-8CB8C85A48F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05015" y="1850440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F3196F2E-7F58-6F19-07A8-C35F6D9356B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32831" y="1303275"/>
            <a:ext cx="3725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40-F48 bez F42 (Neurotické‚ stresové a somatoformní poruchy)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2CE8BEFA-D5B6-D8BC-781A-3906F97B253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797156" y="4426800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5165A08E-37F3-10FD-446A-7F113FDBF59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00365" y="4057478"/>
            <a:ext cx="2918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60, F61 (Poruchy osobnosti a chování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0AF6038-1576-CEFB-3F23-5F6EE823373B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4417049" y="1861435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816E839B-79F9-9EF0-0D14-329C6A60901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880529" y="1295420"/>
            <a:ext cx="26960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42 (Obsedantně-nutkavá porucha)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76789576-66B6-F0E3-6128-32BB11DB872A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409190" y="4437795"/>
          <a:ext cx="3355940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83F0B875-7C8E-9D20-A25B-207FF70BDF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17049" y="4068473"/>
            <a:ext cx="3667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62-F69 (Změny osobnosti a chování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A0352A70-A966-9ACA-1985-6D877841191A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7963094" y="1863003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90C0BBDE-23EF-ECFF-F270-BDD68240E45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045879" y="1309046"/>
            <a:ext cx="35868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50-F59 (Syndromy poruch chování‚ spojené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fyziolog. poruchami a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at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faktory)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89264EBB-A106-80BB-3583-00489ED7E7D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6305" y="557433"/>
            <a:ext cx="11643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, kteří mají v daném roce vykázánu jakoukoli péči pro sledovanou diagnózu (ambulantní nebo hospitalizační) u odbornosti psychiatrie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800CB3B-8561-12B6-5AC0-A71FFFC0726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 rot="16200000">
            <a:off x="-317543" y="2407487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0B30ADD2-EA2F-3194-33FA-EEA177FBC8E2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 rot="16200000">
            <a:off x="-315973" y="4982577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7FCE4D6-3EEA-A78D-BE86-07BE56382BA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 rot="16200000">
            <a:off x="3332201" y="2399630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3713500-509F-C3DA-1B02-5AB829F1067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 rot="16200000">
            <a:off x="3333771" y="4974720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B27FF155-2839-9B42-A6B8-CFE2D9B0730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 rot="16200000">
            <a:off x="6897102" y="2401198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graphicFrame>
        <p:nvGraphicFramePr>
          <p:cNvPr id="22" name="Chart 6">
            <a:extLst>
              <a:ext uri="{FF2B5EF4-FFF2-40B4-BE49-F238E27FC236}">
                <a16:creationId xmlns:a16="http://schemas.microsoft.com/office/drawing/2014/main" id="{70DDC0F1-2D0B-8350-4F55-8CB8C85A48F4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7998680" y="4604643"/>
          <a:ext cx="3348081" cy="212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F3196F2E-7F58-6F19-07A8-C35F6D9356BE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8002053" y="4057478"/>
            <a:ext cx="37251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80-F89 (Poruchy psychického vývoje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800CB3B-8561-12B6-5AC0-A71FFFC07260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 rot="16200000">
            <a:off x="6876122" y="5161690"/>
            <a:ext cx="1976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2906176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9B4A1D-9788-494B-B1F4-089D33F7D43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7270" y="2336388"/>
            <a:ext cx="11182218" cy="538364"/>
          </a:xfrm>
        </p:spPr>
        <p:txBody>
          <a:bodyPr anchor="t">
            <a:noAutofit/>
          </a:bodyPr>
          <a:lstStyle/>
          <a:p>
            <a:pPr algn="ctr"/>
            <a:r>
              <a:rPr lang="cs-CZ" sz="9000" dirty="0"/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861907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-1074113" y="2715661"/>
            <a:ext cx="31686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 </a:t>
            </a:r>
            <a:r>
              <a:rPr kumimoji="1" lang="en-US" alt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sob</a:t>
            </a: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ve věkové kategorii</a:t>
            </a:r>
          </a:p>
        </p:txBody>
      </p:sp>
      <p:sp>
        <p:nvSpPr>
          <p:cNvPr id="15" name="TextovéPole 14"/>
          <p:cNvSpPr txBox="1"/>
          <p:nvPr>
            <p:custDataLst>
              <p:tags r:id="rId2"/>
            </p:custDataLst>
          </p:nvPr>
        </p:nvSpPr>
        <p:spPr>
          <a:xfrm>
            <a:off x="3734427" y="1258122"/>
            <a:ext cx="4765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7" name="Obdélník 16"/>
          <p:cNvSpPr/>
          <p:nvPr>
            <p:custDataLst>
              <p:tags r:id="rId3"/>
            </p:custDataLst>
          </p:nvPr>
        </p:nvSpPr>
        <p:spPr>
          <a:xfrm>
            <a:off x="7519780" y="1372253"/>
            <a:ext cx="403407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15 let očekávatelný nárůst nemocnosti v souvislosti s chorobami vyššího věku a senior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20 – 25 let prudký nárůst nemocnosti v souvislosti s chorobami vyššího věku a seniorů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žší zastoupení mladších věkových skupin jako riziko poklesu porodnosti v následujících 10 – 15 letech. 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7127451" y="1415771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7171327" y="2546514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0" name="TextovéPole 19"/>
          <p:cNvSpPr txBox="1"/>
          <p:nvPr/>
        </p:nvSpPr>
        <p:spPr>
          <a:xfrm>
            <a:off x="7181626" y="3618827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2" name="TextBox 6"/>
          <p:cNvSpPr txBox="1"/>
          <p:nvPr>
            <p:custDataLst>
              <p:tags r:id="rId4"/>
            </p:custDataLst>
          </p:nvPr>
        </p:nvSpPr>
        <p:spPr>
          <a:xfrm>
            <a:off x="288000" y="540000"/>
            <a:ext cx="668804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Český statistický úřad – ISDEM, https://www.czso.cz/csu/czso/projekce-obyvatelstva-ceske-republiky-2018-2100</a:t>
            </a:r>
            <a:endParaRPr kumimoji="0" lang="cs-CZ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Věková</a:t>
            </a:r>
            <a:r>
              <a:rPr lang="en-US" sz="2800" dirty="0"/>
              <a:t> </a:t>
            </a:r>
            <a:r>
              <a:rPr lang="en-US" sz="2800" dirty="0" err="1"/>
              <a:t>struktura</a:t>
            </a:r>
            <a:r>
              <a:rPr lang="en-US" sz="2800" dirty="0"/>
              <a:t> </a:t>
            </a:r>
            <a:r>
              <a:rPr lang="en-US" sz="2800" dirty="0" err="1"/>
              <a:t>obyvatelstva</a:t>
            </a:r>
            <a:r>
              <a:rPr lang="en-US" sz="2800" dirty="0"/>
              <a:t> </a:t>
            </a:r>
            <a:r>
              <a:rPr lang="cs-CZ" sz="2800" dirty="0"/>
              <a:t>ČR a Prahy a její očekávaný vývoj</a:t>
            </a:r>
            <a:endParaRPr lang="en-US" sz="2800" dirty="0"/>
          </a:p>
        </p:txBody>
      </p:sp>
      <p:sp>
        <p:nvSpPr>
          <p:cNvPr id="30" name="Šipka doprava 22">
            <a:extLst>
              <a:ext uri="{FF2B5EF4-FFF2-40B4-BE49-F238E27FC236}">
                <a16:creationId xmlns:a16="http://schemas.microsoft.com/office/drawing/2014/main" id="{345FCAEC-6CF0-43F9-949E-2D62D60404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205877" y="1291028"/>
            <a:ext cx="1270975" cy="1797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Object 2">
            <a:extLst>
              <a:ext uri="{FF2B5EF4-FFF2-40B4-BE49-F238E27FC236}">
                <a16:creationId xmlns:a16="http://schemas.microsoft.com/office/drawing/2014/main" id="{3B844226-B148-46AF-B709-45C8336F8FB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452623" y="1137084"/>
          <a:ext cx="5737225" cy="403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6" name="TextovéPole 15"/>
          <p:cNvSpPr txBox="1"/>
          <p:nvPr>
            <p:custDataLst>
              <p:tags r:id="rId8"/>
            </p:custDataLst>
          </p:nvPr>
        </p:nvSpPr>
        <p:spPr>
          <a:xfrm>
            <a:off x="2032262" y="3016133"/>
            <a:ext cx="61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9" name="Šipka doprava 11">
            <a:extLst>
              <a:ext uri="{FF2B5EF4-FFF2-40B4-BE49-F238E27FC236}">
                <a16:creationId xmlns:a16="http://schemas.microsoft.com/office/drawing/2014/main" id="{8F6A335A-1DCD-429F-A403-6897CF8E3A3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20698" y="2059190"/>
            <a:ext cx="682906" cy="1736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10"/>
            </p:custDataLst>
          </p:nvPr>
        </p:nvSpPr>
        <p:spPr>
          <a:xfrm>
            <a:off x="4187681" y="1954115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E56E155A-1D5F-4207-B62E-8A19590F0259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73736734"/>
              </p:ext>
            </p:extLst>
          </p:nvPr>
        </p:nvGraphicFramePr>
        <p:xfrm>
          <a:off x="452622" y="5230674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2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3 1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6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267 2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300 4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380 49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8 1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2 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45 1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50 7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78 7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7 3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37 2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5 3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56 4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4819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29566" y="974174"/>
            <a:ext cx="11332867" cy="4261018"/>
          </a:xfrm>
        </p:spPr>
        <p:txBody>
          <a:bodyPr>
            <a:noAutofit/>
          </a:bodyPr>
          <a:lstStyle/>
          <a:p>
            <a:pPr algn="ctr"/>
            <a:r>
              <a:rPr lang="cs-CZ" sz="4200" dirty="0">
                <a:solidFill>
                  <a:schemeClr val="tx1"/>
                </a:solidFill>
              </a:rPr>
              <a:t>Nestárne jen populace, ale také lékaři </a:t>
            </a:r>
            <a:br>
              <a:rPr lang="cs-CZ" sz="4200" dirty="0">
                <a:solidFill>
                  <a:schemeClr val="tx1"/>
                </a:solidFill>
              </a:rPr>
            </a:br>
            <a:r>
              <a:rPr lang="cs-CZ" sz="4200" dirty="0">
                <a:solidFill>
                  <a:schemeClr val="tx1"/>
                </a:solidFill>
              </a:rPr>
              <a:t>a zdravotníci. Velmi významný podíl kapacit klíčových ambulantních odborností je zajišťován pracovníky v důchodovém věku. </a:t>
            </a:r>
            <a:endParaRPr lang="en-US" sz="4200" dirty="0">
              <a:solidFill>
                <a:schemeClr val="tx1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C706F8AF-B7E8-8AB3-F7C8-EC10A9E07ADC}"/>
              </a:ext>
            </a:extLst>
          </p:cNvPr>
          <p:cNvSpPr/>
          <p:nvPr/>
        </p:nvSpPr>
        <p:spPr>
          <a:xfrm>
            <a:off x="5292131" y="3707842"/>
            <a:ext cx="1607736" cy="82396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735547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C90795-9117-C42D-051B-527BC3594A5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V</a:t>
            </a:r>
            <a:r>
              <a:rPr lang="cs-CZ" sz="2400" dirty="0" err="1"/>
              <a:t>ybrané</a:t>
            </a:r>
            <a:r>
              <a:rPr lang="cs-CZ" sz="2400" dirty="0"/>
              <a:t> obory </a:t>
            </a:r>
            <a:r>
              <a:rPr lang="en-US" sz="2400" dirty="0" err="1"/>
              <a:t>dle</a:t>
            </a:r>
            <a:r>
              <a:rPr lang="en-US" sz="2400" dirty="0"/>
              <a:t> </a:t>
            </a:r>
            <a:r>
              <a:rPr lang="cs-CZ" sz="2400" dirty="0"/>
              <a:t>lékařů a </a:t>
            </a:r>
            <a:r>
              <a:rPr lang="cs-CZ" sz="2400" dirty="0" err="1"/>
              <a:t>nelékařů</a:t>
            </a:r>
            <a:r>
              <a:rPr lang="cs-CZ" sz="2400" dirty="0"/>
              <a:t> dle věku: Praha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F91005B8-6229-0FC9-E6D6-351742189A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2951" y="539531"/>
            <a:ext cx="7198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aktivní pracovníci ve všech typech péče, stav k 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0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F1BB2B5A-F53C-8C39-4F0C-FAC007A485B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144000" y="160258"/>
            <a:ext cx="292969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graphicFrame>
        <p:nvGraphicFramePr>
          <p:cNvPr id="24" name="Graf 23">
            <a:extLst>
              <a:ext uri="{FF2B5EF4-FFF2-40B4-BE49-F238E27FC236}">
                <a16:creationId xmlns:a16="http://schemas.microsoft.com/office/drawing/2014/main" id="{61FBE522-27E9-A374-FF37-E71E9A1ED0B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9164695"/>
              </p:ext>
            </p:extLst>
          </p:nvPr>
        </p:nvGraphicFramePr>
        <p:xfrm>
          <a:off x="7244179" y="1131161"/>
          <a:ext cx="4565764" cy="5278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ECC504C-2747-29B5-05DF-0703088858C8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84839656"/>
              </p:ext>
            </p:extLst>
          </p:nvPr>
        </p:nvGraphicFramePr>
        <p:xfrm>
          <a:off x="382058" y="952675"/>
          <a:ext cx="6876000" cy="5410181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792000">
                  <a:extLst>
                    <a:ext uri="{9D8B030D-6E8A-4147-A177-3AD203B41FA5}">
                      <a16:colId xmlns:a16="http://schemas.microsoft.com/office/drawing/2014/main" val="2350671837"/>
                    </a:ext>
                  </a:extLst>
                </a:gridCol>
                <a:gridCol w="1973179">
                  <a:extLst>
                    <a:ext uri="{9D8B030D-6E8A-4147-A177-3AD203B41FA5}">
                      <a16:colId xmlns:a16="http://schemas.microsoft.com/office/drawing/2014/main" val="3596075597"/>
                    </a:ext>
                  </a:extLst>
                </a:gridCol>
                <a:gridCol w="798821">
                  <a:extLst>
                    <a:ext uri="{9D8B030D-6E8A-4147-A177-3AD203B41FA5}">
                      <a16:colId xmlns:a16="http://schemas.microsoft.com/office/drawing/2014/main" val="940006983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val="3293774144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val="2841312778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val="1259277082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val="434580097"/>
                    </a:ext>
                  </a:extLst>
                </a:gridCol>
              </a:tblGrid>
              <a:tr h="654829">
                <a:tc gridSpan="2"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dirty="0">
                          <a:effectLst/>
                        </a:rPr>
                        <a:t>Obor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810" marR="3810" marT="381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effectLst/>
                        </a:rPr>
                        <a:t>Celkem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effectLst/>
                        </a:rPr>
                        <a:t>do 59 let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effectLst/>
                        </a:rPr>
                        <a:t>60-65 let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effectLst/>
                        </a:rPr>
                        <a:t>65-69 let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effectLst/>
                        </a:rPr>
                        <a:t>70 a více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859141"/>
                  </a:ext>
                </a:extLst>
              </a:tr>
              <a:tr h="594419">
                <a:tc rowSpan="6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ékaři</a:t>
                      </a:r>
                    </a:p>
                  </a:txBody>
                  <a:tcPr marL="9525" marR="9525" marT="9525" marB="0" vert="vert27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xuologi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33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3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21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33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2984027"/>
                  </a:ext>
                </a:extLst>
              </a:tr>
              <a:tr h="594419">
                <a:tc vMerge="1">
                  <a:txBody>
                    <a:bodyPr/>
                    <a:lstStyle/>
                    <a:p>
                      <a:pPr algn="l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a dorostová psychiatri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2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916468"/>
                  </a:ext>
                </a:extLst>
              </a:tr>
              <a:tr h="594419">
                <a:tc vMerge="1">
                  <a:txBody>
                    <a:bodyPr/>
                    <a:lstStyle/>
                    <a:p>
                      <a:pPr algn="l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ktické lékařství pro děti a dorost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5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9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4526336"/>
                  </a:ext>
                </a:extLst>
              </a:tr>
              <a:tr h="594419">
                <a:tc vMerge="1">
                  <a:txBody>
                    <a:bodyPr/>
                    <a:lstStyle/>
                    <a:p>
                      <a:pPr algn="l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šeobecné praktické lékařstv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583442"/>
                  </a:ext>
                </a:extLst>
              </a:tr>
              <a:tr h="594419">
                <a:tc vMerge="1">
                  <a:txBody>
                    <a:bodyPr/>
                    <a:lstStyle/>
                    <a:p>
                      <a:pPr algn="l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53376"/>
                  </a:ext>
                </a:extLst>
              </a:tr>
              <a:tr h="594419">
                <a:tc vMerge="1">
                  <a:txBody>
                    <a:bodyPr/>
                    <a:lstStyle/>
                    <a:p>
                      <a:pPr algn="l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matologi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7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9718788"/>
                  </a:ext>
                </a:extLst>
              </a:tr>
              <a:tr h="594419">
                <a:tc row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 err="1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elékaři</a:t>
                      </a:r>
                      <a:endParaRPr lang="cs-CZ" sz="1600" b="1" i="0" u="none" strike="noStrike" kern="1200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vert="vert27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inická psychologi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6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78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3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5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4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0620181"/>
                  </a:ext>
                </a:extLst>
              </a:tr>
              <a:tr h="594419">
                <a:tc vMerge="1">
                  <a:txBody>
                    <a:bodyPr/>
                    <a:lstStyle/>
                    <a:p>
                      <a:pPr algn="l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iktologi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1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94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5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2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 </a:t>
                      </a:r>
                      <a:b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</a:b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0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5705031"/>
                  </a:ext>
                </a:extLst>
              </a:tr>
            </a:tbl>
          </a:graphicData>
        </a:graphic>
      </p:graphicFrame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4E9FDD20-D3D5-5EF5-43E9-D39475F697A1}"/>
              </a:ext>
            </a:extLst>
          </p:cNvPr>
          <p:cNvCxnSpPr/>
          <p:nvPr/>
        </p:nvCxnSpPr>
        <p:spPr>
          <a:xfrm>
            <a:off x="956930" y="1878419"/>
            <a:ext cx="0" cy="3083441"/>
          </a:xfrm>
          <a:prstGeom prst="line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9AFE155A-75B8-7AEC-533D-C054635521F6}"/>
              </a:ext>
            </a:extLst>
          </p:cNvPr>
          <p:cNvCxnSpPr>
            <a:cxnSpLocks/>
          </p:cNvCxnSpPr>
          <p:nvPr/>
        </p:nvCxnSpPr>
        <p:spPr>
          <a:xfrm>
            <a:off x="956930" y="5292725"/>
            <a:ext cx="0" cy="879475"/>
          </a:xfrm>
          <a:prstGeom prst="line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2976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CDBBFA7-3EC1-D261-D6A5-322050B3E3C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30994" y="107093"/>
            <a:ext cx="12015216" cy="538364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C00000"/>
                </a:solidFill>
                <a:latin typeface="+mn-lt"/>
              </a:rPr>
              <a:t>Praktičtí lékaři pro dospělé aktivní v roce 2023 dle věku a pohlaví: Praha</a:t>
            </a:r>
            <a:endParaRPr lang="en-US" sz="28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2168FC65-A0F9-4B40-675A-81362A5E395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9728" y="544733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na pracovištích PLD, stav k 30. 6. 2023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75F556CC-5509-DDDD-133E-9BFB7632C55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3703734"/>
              </p:ext>
            </p:extLst>
          </p:nvPr>
        </p:nvGraphicFramePr>
        <p:xfrm>
          <a:off x="434687" y="2938187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324A9569-6663-B123-6DFD-71D5B99F3F4C}"/>
              </a:ext>
            </a:extLst>
          </p:cNvPr>
          <p:cNvSpPr/>
          <p:nvPr/>
        </p:nvSpPr>
        <p:spPr>
          <a:xfrm rot="16200000">
            <a:off x="-256940" y="4466966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2BC1F30-193F-BAFA-9487-8BC6526417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7618147"/>
              </p:ext>
            </p:extLst>
          </p:nvPr>
        </p:nvGraphicFramePr>
        <p:xfrm>
          <a:off x="6620033" y="2918751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FC42BB33-0F34-48B2-867F-EABCAFCD8922}"/>
              </a:ext>
            </a:extLst>
          </p:cNvPr>
          <p:cNvSpPr/>
          <p:nvPr/>
        </p:nvSpPr>
        <p:spPr>
          <a:xfrm rot="16200000">
            <a:off x="5928407" y="4604462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EE0EBE57-7609-73EA-15B4-AC8064DAC880}"/>
              </a:ext>
            </a:extLst>
          </p:cNvPr>
          <p:cNvSpPr/>
          <p:nvPr/>
        </p:nvSpPr>
        <p:spPr>
          <a:xfrm>
            <a:off x="3890459" y="969818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FF8A4297-6F96-CC83-9278-BF1D432F9AC8}"/>
              </a:ext>
            </a:extLst>
          </p:cNvPr>
          <p:cNvSpPr/>
          <p:nvPr/>
        </p:nvSpPr>
        <p:spPr>
          <a:xfrm>
            <a:off x="5826169" y="969818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FD206A31-B926-B29F-332E-82163C9B00E0}"/>
              </a:ext>
            </a:extLst>
          </p:cNvPr>
          <p:cNvSpPr/>
          <p:nvPr/>
        </p:nvSpPr>
        <p:spPr>
          <a:xfrm>
            <a:off x="1486543" y="2749449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918ECDC4-577D-8572-A217-FCEC30588828}"/>
              </a:ext>
            </a:extLst>
          </p:cNvPr>
          <p:cNvSpPr/>
          <p:nvPr/>
        </p:nvSpPr>
        <p:spPr>
          <a:xfrm>
            <a:off x="7451795" y="2758593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46573538-38E3-F8F2-8FEC-E23628300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894608"/>
              </p:ext>
            </p:extLst>
          </p:nvPr>
        </p:nvGraphicFramePr>
        <p:xfrm>
          <a:off x="2066979" y="895227"/>
          <a:ext cx="7172271" cy="1857060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76 (27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42 (72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0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53138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0 (39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1 (36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81 (37,4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9 (28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7 (27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6 (28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0BD57382-5C38-926B-E1A3-22D442F0791B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</p:spTree>
    <p:extLst>
      <p:ext uri="{BB962C8B-B14F-4D97-AF65-F5344CB8AC3E}">
        <p14:creationId xmlns:p14="http://schemas.microsoft.com/office/powerpoint/2010/main" val="388253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720D56EF-3CB2-7288-F879-C0F7746FA0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2590" y="576792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na pracovištích PLDD, stav k 30. 9. 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6E40C419-1E8F-3DD5-2FEF-84C7692632DF}"/>
              </a:ext>
            </a:extLst>
          </p:cNvPr>
          <p:cNvSpPr/>
          <p:nvPr/>
        </p:nvSpPr>
        <p:spPr>
          <a:xfrm rot="16200000">
            <a:off x="-320948" y="4555834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CBB611A6-6BB1-AA3C-561B-BF04AFDF6CE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848056"/>
              </p:ext>
            </p:extLst>
          </p:nvPr>
        </p:nvGraphicFramePr>
        <p:xfrm>
          <a:off x="6556025" y="3007619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3B5D7A4A-CA66-2E5C-EA06-B1BA69F976E8}"/>
              </a:ext>
            </a:extLst>
          </p:cNvPr>
          <p:cNvSpPr/>
          <p:nvPr/>
        </p:nvSpPr>
        <p:spPr>
          <a:xfrm rot="16200000">
            <a:off x="5864399" y="4693330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71D75AE-8265-6C31-B1AB-BD45746F98FC}"/>
              </a:ext>
            </a:extLst>
          </p:cNvPr>
          <p:cNvSpPr/>
          <p:nvPr/>
        </p:nvSpPr>
        <p:spPr>
          <a:xfrm>
            <a:off x="3826451" y="1003799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E2770B31-C928-0B92-5C49-BE3A591FA4D0}"/>
              </a:ext>
            </a:extLst>
          </p:cNvPr>
          <p:cNvSpPr/>
          <p:nvPr/>
        </p:nvSpPr>
        <p:spPr>
          <a:xfrm>
            <a:off x="5762161" y="1003799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F82BFA9-F6EA-6DC8-64E6-8272483BC13E}"/>
              </a:ext>
            </a:extLst>
          </p:cNvPr>
          <p:cNvSpPr/>
          <p:nvPr/>
        </p:nvSpPr>
        <p:spPr>
          <a:xfrm>
            <a:off x="1422535" y="2838317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EF21B2C1-EC7B-98AF-CB91-3C2904F98D87}"/>
              </a:ext>
            </a:extLst>
          </p:cNvPr>
          <p:cNvSpPr/>
          <p:nvPr/>
        </p:nvSpPr>
        <p:spPr>
          <a:xfrm>
            <a:off x="7387787" y="2847461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8D0F3072-8DEE-10C7-8134-E4BC3B0A11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1667708"/>
              </p:ext>
            </p:extLst>
          </p:nvPr>
        </p:nvGraphicFramePr>
        <p:xfrm>
          <a:off x="2002971" y="929208"/>
          <a:ext cx="7172271" cy="1857060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0 (12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81 (87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53138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 (45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8 (45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6 (45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 (30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6 (34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8 (33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94DF4D8B-067B-7887-09EE-B68519CE6D8F}"/>
              </a:ext>
            </a:extLst>
          </p:cNvPr>
          <p:cNvSpPr txBox="1"/>
          <p:nvPr/>
        </p:nvSpPr>
        <p:spPr>
          <a:xfrm>
            <a:off x="2841671" y="6550223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sp>
        <p:nvSpPr>
          <p:cNvPr id="12" name="Nadpis 2">
            <a:extLst>
              <a:ext uri="{FF2B5EF4-FFF2-40B4-BE49-F238E27FC236}">
                <a16:creationId xmlns:a16="http://schemas.microsoft.com/office/drawing/2014/main" id="{DBF5FF78-EBA7-F103-9828-8C5A773FDA7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72590" y="160258"/>
            <a:ext cx="11919410" cy="538364"/>
          </a:xfrm>
        </p:spPr>
        <p:txBody>
          <a:bodyPr/>
          <a:lstStyle/>
          <a:p>
            <a:r>
              <a:rPr lang="cs-CZ" sz="2800" dirty="0">
                <a:solidFill>
                  <a:srgbClr val="C00000"/>
                </a:solidFill>
              </a:rPr>
              <a:t>Praktičtí lékaři pro děti a dorost aktivní v roce 2023 dle věku a pohlaví: Praha</a:t>
            </a: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81A0A404-745B-65EF-AFEB-E6F801CC29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212309"/>
              </p:ext>
            </p:extLst>
          </p:nvPr>
        </p:nvGraphicFramePr>
        <p:xfrm>
          <a:off x="1231462" y="2969092"/>
          <a:ext cx="3728297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8350914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1D73B61D-6C1A-4B79-B4F6-84C30FCA90C6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96238" y="87524"/>
            <a:ext cx="12109704" cy="538364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Zubní lékaři aktivní v roce 2023 dle věku a pohlaví: Praha</a:t>
            </a:r>
            <a:endParaRPr lang="en-US" sz="2800" b="1" dirty="0">
              <a:solidFill>
                <a:srgbClr val="C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43DC70F3-3784-4DC1-92D6-E57D8B1BE987}"/>
              </a:ext>
            </a:extLst>
          </p:cNvPr>
          <p:cNvSpPr txBox="1"/>
          <p:nvPr/>
        </p:nvSpPr>
        <p:spPr>
          <a:xfrm>
            <a:off x="292951" y="532121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</a:t>
            </a:r>
            <a:r>
              <a:rPr lang="cs-CZ" sz="1400" b="1" i="1" dirty="0">
                <a:solidFill>
                  <a:prstClr val="black"/>
                </a:solidFill>
                <a:latin typeface="Calibri" panose="020F0502020204030204"/>
              </a:rPr>
              <a:t>– stomatologové</a:t>
            </a: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tav k 30. 6. 2023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C394653-2CD1-41B0-B752-DF7D520DF8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1153702"/>
              </p:ext>
            </p:extLst>
          </p:nvPr>
        </p:nvGraphicFramePr>
        <p:xfrm>
          <a:off x="434687" y="2938187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A404C8F6-B255-462F-BD13-9127EB780928}"/>
              </a:ext>
            </a:extLst>
          </p:cNvPr>
          <p:cNvSpPr/>
          <p:nvPr/>
        </p:nvSpPr>
        <p:spPr>
          <a:xfrm rot="16200000">
            <a:off x="-256940" y="4466966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3E5D4113-4EA3-4D80-B696-3D808688D6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9635650"/>
              </p:ext>
            </p:extLst>
          </p:nvPr>
        </p:nvGraphicFramePr>
        <p:xfrm>
          <a:off x="6620033" y="2918751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046C3FE0-D10A-4963-B8AF-F6516D8F6032}"/>
              </a:ext>
            </a:extLst>
          </p:cNvPr>
          <p:cNvSpPr/>
          <p:nvPr/>
        </p:nvSpPr>
        <p:spPr>
          <a:xfrm rot="16200000">
            <a:off x="5928407" y="4604462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132E533-4508-423C-B028-F1592B75EC94}"/>
              </a:ext>
            </a:extLst>
          </p:cNvPr>
          <p:cNvSpPr/>
          <p:nvPr/>
        </p:nvSpPr>
        <p:spPr>
          <a:xfrm>
            <a:off x="3890459" y="969818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3225C2D-8D63-4577-A47F-D5A3B59AD0D1}"/>
              </a:ext>
            </a:extLst>
          </p:cNvPr>
          <p:cNvSpPr/>
          <p:nvPr/>
        </p:nvSpPr>
        <p:spPr>
          <a:xfrm>
            <a:off x="5826169" y="969818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5AB86CAD-1A84-496E-9623-A807BB5E6912}"/>
              </a:ext>
            </a:extLst>
          </p:cNvPr>
          <p:cNvSpPr/>
          <p:nvPr/>
        </p:nvSpPr>
        <p:spPr>
          <a:xfrm>
            <a:off x="1486543" y="2749449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38AC1C2-E218-4140-8EC0-FB5E8564FA0D}"/>
              </a:ext>
            </a:extLst>
          </p:cNvPr>
          <p:cNvSpPr/>
          <p:nvPr/>
        </p:nvSpPr>
        <p:spPr>
          <a:xfrm>
            <a:off x="7451795" y="2758593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C81BEA4-0357-40A8-A6D3-F68739F2C727}"/>
              </a:ext>
            </a:extLst>
          </p:cNvPr>
          <p:cNvGraphicFramePr>
            <a:graphicFrameLocks noGrp="1"/>
          </p:cNvGraphicFramePr>
          <p:nvPr/>
        </p:nvGraphicFramePr>
        <p:xfrm>
          <a:off x="2066979" y="895227"/>
          <a:ext cx="7172271" cy="1848330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87 (34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106 (65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6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53138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39 (23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7 (25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16 (24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5 (19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7 (20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2 (20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6941B15D-E99E-6555-AAD2-5F67D2196845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</p:spTree>
    <p:extLst>
      <p:ext uri="{BB962C8B-B14F-4D97-AF65-F5344CB8AC3E}">
        <p14:creationId xmlns:p14="http://schemas.microsoft.com/office/powerpoint/2010/main" val="10310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74</TotalTime>
  <Words>2835</Words>
  <Application>Microsoft Office PowerPoint</Application>
  <PresentationFormat>Širokoúhlá obrazovka</PresentationFormat>
  <Paragraphs>903</Paragraphs>
  <Slides>32</Slides>
  <Notes>16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9" baseType="lpstr">
      <vt:lpstr>Aptos</vt:lpstr>
      <vt:lpstr>Arial</vt:lpstr>
      <vt:lpstr>Arial Black</vt:lpstr>
      <vt:lpstr>Calibri</vt:lpstr>
      <vt:lpstr>Calibri Light</vt:lpstr>
      <vt:lpstr>Motiv Office</vt:lpstr>
      <vt:lpstr>1_Motiv Office</vt:lpstr>
      <vt:lpstr>Prezentace aplikace PowerPoint</vt:lpstr>
      <vt:lpstr>Kapacity vybraných ambulantních profesí v Praze</vt:lpstr>
      <vt:lpstr>Hodnocení a plánování potřebných personálních kapacit ve zdravotnictví je strategicky důležité.   V následujících letech dojde k významnému demografickému stárnutí populace ČR i Prahy.   Dostatečná personální kapacita bude určující  pro zajištění dostupnosti zdravotních služeb. </vt:lpstr>
      <vt:lpstr>Věková struktura obyvatelstva ČR a Prahy a její očekávaný vývoj</vt:lpstr>
      <vt:lpstr>Nestárne jen populace, ale také lékaři  a zdravotníci. Velmi významný podíl kapacit klíčových ambulantních odborností je zajišťován pracovníky v důchodovém věku. </vt:lpstr>
      <vt:lpstr>Vybrané obory dle lékařů a nelékařů dle věku: Praha</vt:lpstr>
      <vt:lpstr>Prezentace aplikace PowerPoint</vt:lpstr>
      <vt:lpstr>Praktičtí lékaři pro děti a dorost aktivní v roce 2023 dle věku a pohlaví: Praha</vt:lpstr>
      <vt:lpstr>Prezentace aplikace PowerPoint</vt:lpstr>
      <vt:lpstr>Ambulantní psychiatři aktivní v roce 2023 podle věku a pohlaví v Praze</vt:lpstr>
      <vt:lpstr>Ambulantní dětští psychiatři aktivní v roce 2023 dle věku a pohlaví: Praha</vt:lpstr>
      <vt:lpstr>Kapacity vybraných ambulantních profesí v Praze</vt:lpstr>
      <vt:lpstr>Personální kapacity v Praze mají strategický význam  i pro další regiony, zejména pro Středočeský kraj.   Spádová oblast pražského zdravotnictví totiž významně překračuje hranice Prahy, což platí  pro lůžkový i ambulantní segment péče. </vt:lpstr>
      <vt:lpstr>Zdravotnická zařízení v Praze: ambulance (data 2022)</vt:lpstr>
      <vt:lpstr>Kapacity vybraných ambulantních profesí v Praze</vt:lpstr>
      <vt:lpstr>Celkové úvazky ambulantních lékařů na 100 tis. obyvatel v r. 2023</vt:lpstr>
      <vt:lpstr>Celkové úvazky ambulantních lékařů na 100 tis. obyvatel v r. 2023</vt:lpstr>
      <vt:lpstr>Celkové úvazky lékařů a psychologů na 100 tis. obyvatel v r. 2023</vt:lpstr>
      <vt:lpstr>Suma úvazků lékařů na 100 000 obyvatel</vt:lpstr>
      <vt:lpstr>Suma úvazků lékařů na 100 000 obyvatel</vt:lpstr>
      <vt:lpstr>Dynamika počtu samostatných ordinací praktických lékařů pro dospělé  v letech 2018-2023 </vt:lpstr>
      <vt:lpstr>Dynamika počtu samostatných ordinací praktických lékařů pro dospělé v Praze  v letech 2018-2023 </vt:lpstr>
      <vt:lpstr>Dynamika počtu samostatných ordinací praktických lékařů pro děti a dorost  v letech 2018-2023 </vt:lpstr>
      <vt:lpstr>Dynamika počtu samostatných ordinací praktických lékařů pro děti a dorost  v letech 2018-2023 </vt:lpstr>
      <vt:lpstr>Rozložení rizika není mezi regiony rovnoměrné </vt:lpstr>
      <vt:lpstr>Dynamika počtu ordinací stomatologů za období 2018 – 2022</vt:lpstr>
      <vt:lpstr>Dynamika počtu ordinací stomatologů za období 2018 – 2022</vt:lpstr>
      <vt:lpstr>Kapacity vybraných ambulantních profesí v Praze</vt:lpstr>
      <vt:lpstr>Praha: vývoj počtu dětí a mladistvých s psychiatrickou péčí</vt:lpstr>
      <vt:lpstr>Praha: počet dětí a mladistvých s psychiatrickou péčí pro vybrané diagnózy</vt:lpstr>
      <vt:lpstr>Praha: Počet dětí a mladistvých s psychiatrickou péčí pro vybrané diagnózy</vt:lpstr>
      <vt:lpstr>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Vysoudil Michal Ing.</dc:creator>
  <cp:lastModifiedBy>Dušek Ladislav prof. RNDr. Ph.D.</cp:lastModifiedBy>
  <cp:revision>59</cp:revision>
  <dcterms:created xsi:type="dcterms:W3CDTF">2022-12-07T08:46:39Z</dcterms:created>
  <dcterms:modified xsi:type="dcterms:W3CDTF">2024-06-19T13:22:06Z</dcterms:modified>
</cp:coreProperties>
</file>